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Default Extension="png" ContentType="image/png"/>
  <Default Extension="bin" ContentType="application/vnd.openxmlformats-officedocument.oleObject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Default Extension="jpeg" ContentType="image/jpeg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86" r:id="rId2"/>
    <p:sldId id="257" r:id="rId3"/>
    <p:sldId id="326" r:id="rId4"/>
    <p:sldId id="259" r:id="rId5"/>
    <p:sldId id="327" r:id="rId6"/>
    <p:sldId id="314" r:id="rId7"/>
    <p:sldId id="328" r:id="rId8"/>
    <p:sldId id="329" r:id="rId9"/>
    <p:sldId id="330" r:id="rId10"/>
    <p:sldId id="333" r:id="rId11"/>
    <p:sldId id="338" r:id="rId12"/>
    <p:sldId id="339" r:id="rId13"/>
    <p:sldId id="340" r:id="rId14"/>
    <p:sldId id="342" r:id="rId15"/>
  </p:sldIdLst>
  <p:sldSz cx="9144000" cy="6858000" type="screen4x3"/>
  <p:notesSz cx="6669088" cy="97758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FF66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67" autoAdjust="0"/>
    <p:restoredTop sz="94660"/>
  </p:normalViewPr>
  <p:slideViewPr>
    <p:cSldViewPr>
      <p:cViewPr varScale="1">
        <p:scale>
          <a:sx n="82" d="100"/>
          <a:sy n="82" d="100"/>
        </p:scale>
        <p:origin x="-1758" y="-9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938" cy="4887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777607" y="0"/>
            <a:ext cx="2889938" cy="48879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DAF875F-3747-4F89-B421-07D090D55632}" type="datetimeFigureOut">
              <a:rPr lang="ru-RU" smtClean="0"/>
              <a:pPr/>
              <a:t>14.05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92175" y="733425"/>
            <a:ext cx="4884738" cy="36655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66909" y="4643517"/>
            <a:ext cx="5335270" cy="439912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285337"/>
            <a:ext cx="2889938" cy="4887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777607" y="9285337"/>
            <a:ext cx="2889938" cy="48879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6F8986-CB01-4FE4-9796-ABE415135206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1824014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1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536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dirty="0" smtClean="0"/>
          </a:p>
        </p:txBody>
      </p:sp>
      <p:sp>
        <p:nvSpPr>
          <p:cNvPr id="82948" name="Номер слайда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defTabSz="896587" fontAlgn="base">
              <a:spcBef>
                <a:spcPct val="0"/>
              </a:spcBef>
              <a:spcAft>
                <a:spcPct val="0"/>
              </a:spcAft>
              <a:defRPr/>
            </a:pPr>
            <a:fld id="{4ED6A377-1E95-4DAD-9B78-16C646813C29}" type="slidenum">
              <a:rPr lang="ru-RU" smtClean="0"/>
              <a:pPr defTabSz="896587"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ru-RU" dirty="0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741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r>
              <a:rPr lang="ru-RU" altLang="ru-RU" dirty="0" smtClean="0"/>
              <a:t>ВВП: 2011 – 55967, 2012 – 66976, 2013 – 71055, 2014 – 77893, 2015 – 80413, 2016 – 84424, 2017 – 87175, 2018 – 92472, 2019 - 98338</a:t>
            </a:r>
          </a:p>
        </p:txBody>
      </p:sp>
      <p:sp>
        <p:nvSpPr>
          <p:cNvPr id="1741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8F4ABF6A-2A6C-4A4A-BFBB-564F2CF8E148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ru-RU" altLang="ru-RU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0D8A2-AB57-4A0B-87E4-3173C98A66EC}" type="datetimeFigureOut">
              <a:rPr lang="ru-RU" smtClean="0"/>
              <a:pPr/>
              <a:t>14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F47686-7EDF-4557-9E60-A618BFCDF2D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0D8A2-AB57-4A0B-87E4-3173C98A66EC}" type="datetimeFigureOut">
              <a:rPr lang="ru-RU" smtClean="0"/>
              <a:pPr/>
              <a:t>14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F47686-7EDF-4557-9E60-A618BFCDF2D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0D8A2-AB57-4A0B-87E4-3173C98A66EC}" type="datetimeFigureOut">
              <a:rPr lang="ru-RU" smtClean="0"/>
              <a:pPr/>
              <a:t>14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F47686-7EDF-4557-9E60-A618BFCDF2D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0D8A2-AB57-4A0B-87E4-3173C98A66EC}" type="datetimeFigureOut">
              <a:rPr lang="ru-RU" smtClean="0"/>
              <a:pPr/>
              <a:t>14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F47686-7EDF-4557-9E60-A618BFCDF2D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0D8A2-AB57-4A0B-87E4-3173C98A66EC}" type="datetimeFigureOut">
              <a:rPr lang="ru-RU" smtClean="0"/>
              <a:pPr/>
              <a:t>14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F47686-7EDF-4557-9E60-A618BFCDF2D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0D8A2-AB57-4A0B-87E4-3173C98A66EC}" type="datetimeFigureOut">
              <a:rPr lang="ru-RU" smtClean="0"/>
              <a:pPr/>
              <a:t>14.05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F47686-7EDF-4557-9E60-A618BFCDF2D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0D8A2-AB57-4A0B-87E4-3173C98A66EC}" type="datetimeFigureOut">
              <a:rPr lang="ru-RU" smtClean="0"/>
              <a:pPr/>
              <a:t>14.05.20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F47686-7EDF-4557-9E60-A618BFCDF2D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0D8A2-AB57-4A0B-87E4-3173C98A66EC}" type="datetimeFigureOut">
              <a:rPr lang="ru-RU" smtClean="0"/>
              <a:pPr/>
              <a:t>14.05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F47686-7EDF-4557-9E60-A618BFCDF2D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0D8A2-AB57-4A0B-87E4-3173C98A66EC}" type="datetimeFigureOut">
              <a:rPr lang="ru-RU" smtClean="0"/>
              <a:pPr/>
              <a:t>14.05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F47686-7EDF-4557-9E60-A618BFCDF2D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0D8A2-AB57-4A0B-87E4-3173C98A66EC}" type="datetimeFigureOut">
              <a:rPr lang="ru-RU" smtClean="0"/>
              <a:pPr/>
              <a:t>14.05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F47686-7EDF-4557-9E60-A618BFCDF2D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70D8A2-AB57-4A0B-87E4-3173C98A66EC}" type="datetimeFigureOut">
              <a:rPr lang="ru-RU" smtClean="0"/>
              <a:pPr/>
              <a:t>14.05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4F47686-7EDF-4557-9E60-A618BFCDF2D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370D8A2-AB57-4A0B-87E4-3173C98A66EC}" type="datetimeFigureOut">
              <a:rPr lang="ru-RU" smtClean="0"/>
              <a:pPr/>
              <a:t>14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F47686-7EDF-4557-9E60-A618BFCDF2D2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hyperlink" Target="consultantplus://offline/ref=C7A146EBE3F1ACC3EEAD45CC9498B772E6988837C277B937973EB8E3FDE0FDF8117E0E6FD783FCG6hFQ" TargetMode="External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4.png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hyperlink" Target="consultantplus://offline/ref=D98E883AEC91456CC46EC8B455C2A6EE456312FF29CC8F2576FC8A18DFC821A3F89EBC27335F94P8o5I" TargetMode="Externa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Номер слайда 5"/>
          <p:cNvSpPr txBox="1">
            <a:spLocks/>
          </p:cNvSpPr>
          <p:nvPr/>
        </p:nvSpPr>
        <p:spPr bwMode="auto">
          <a:xfrm>
            <a:off x="6553200" y="6356350"/>
            <a:ext cx="2133600" cy="365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r"/>
            <a:fld id="{9E039CAE-64C5-42FB-8811-D55825C87932}" type="slidenum">
              <a:rPr lang="ru-RU">
                <a:solidFill>
                  <a:schemeClr val="bg1"/>
                </a:solidFill>
                <a:latin typeface="Calibri" pitchFamily="34" charset="0"/>
                <a:cs typeface="Arial" charset="0"/>
              </a:rPr>
              <a:pPr algn="r"/>
              <a:t>1</a:t>
            </a:fld>
            <a:endParaRPr lang="ru-RU" dirty="0">
              <a:solidFill>
                <a:schemeClr val="bg1"/>
              </a:solidFill>
              <a:latin typeface="Calibri" pitchFamily="34" charset="0"/>
              <a:cs typeface="Arial" charset="0"/>
            </a:endParaRPr>
          </a:p>
        </p:txBody>
      </p:sp>
      <p:sp>
        <p:nvSpPr>
          <p:cNvPr id="14338" name="Прямоугольник 3"/>
          <p:cNvSpPr>
            <a:spLocks noChangeArrowheads="1"/>
          </p:cNvSpPr>
          <p:nvPr/>
        </p:nvSpPr>
        <p:spPr bwMode="auto">
          <a:xfrm>
            <a:off x="0" y="1988840"/>
            <a:ext cx="9144000" cy="4287838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lIns="95782" tIns="47891" rIns="95782" bIns="47891" anchor="ctr"/>
          <a:lstStyle/>
          <a:p>
            <a:pPr algn="ctr">
              <a:defRPr/>
            </a:pPr>
            <a:r>
              <a:rPr lang="ru-RU" sz="2800" b="1" dirty="0" smtClean="0">
                <a:solidFill>
                  <a:prstClr val="white"/>
                </a:solidFill>
                <a:latin typeface="Times New Roman" panose="02020603050405020304" pitchFamily="18" charset="0"/>
              </a:rPr>
              <a:t>Финансирование системы здравоохранения в современных условиях</a:t>
            </a:r>
            <a:endParaRPr lang="ru-RU" sz="2800" b="1" dirty="0">
              <a:solidFill>
                <a:prstClr val="white"/>
              </a:solidFill>
              <a:latin typeface="Times New Roman" panose="02020603050405020304" pitchFamily="18" charset="0"/>
            </a:endParaRPr>
          </a:p>
        </p:txBody>
      </p:sp>
      <p:sp>
        <p:nvSpPr>
          <p:cNvPr id="7" name="Прямоугольник 11"/>
          <p:cNvSpPr>
            <a:spLocks noChangeArrowheads="1"/>
          </p:cNvSpPr>
          <p:nvPr/>
        </p:nvSpPr>
        <p:spPr bwMode="auto">
          <a:xfrm>
            <a:off x="0" y="2000250"/>
            <a:ext cx="9144000" cy="287338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25400" algn="ctr">
            <a:noFill/>
            <a:miter lim="800000"/>
            <a:headEnd/>
            <a:tailEnd/>
          </a:ln>
        </p:spPr>
        <p:txBody>
          <a:bodyPr lIns="95782" tIns="47891" rIns="95782" bIns="47891" anchor="ctr"/>
          <a:lstStyle/>
          <a:p>
            <a:pPr algn="ctr" defTabSz="957263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900" dirty="0">
              <a:solidFill>
                <a:srgbClr val="4F6228"/>
              </a:solidFill>
              <a:latin typeface="Calibri" pitchFamily="34" charset="0"/>
            </a:endParaRPr>
          </a:p>
        </p:txBody>
      </p:sp>
      <p:sp>
        <p:nvSpPr>
          <p:cNvPr id="14340" name="Прямоугольник 4"/>
          <p:cNvSpPr>
            <a:spLocks noChangeArrowheads="1"/>
          </p:cNvSpPr>
          <p:nvPr/>
        </p:nvSpPr>
        <p:spPr bwMode="auto">
          <a:xfrm>
            <a:off x="6715125" y="6215063"/>
            <a:ext cx="1428750" cy="142875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</p:spPr>
        <p:txBody>
          <a:bodyPr lIns="95782" tIns="47891" rIns="95782" bIns="47891" anchor="ctr"/>
          <a:lstStyle/>
          <a:p>
            <a:pPr algn="ctr" defTabSz="957263"/>
            <a:endParaRPr lang="en-US" sz="1900" dirty="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4341" name="Заголовок 1"/>
          <p:cNvSpPr>
            <a:spLocks/>
          </p:cNvSpPr>
          <p:nvPr/>
        </p:nvSpPr>
        <p:spPr bwMode="auto">
          <a:xfrm>
            <a:off x="0" y="2287588"/>
            <a:ext cx="9144000" cy="34448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2800" b="1" dirty="0">
              <a:solidFill>
                <a:schemeClr val="bg1"/>
              </a:solidFill>
            </a:endParaRPr>
          </a:p>
          <a:p>
            <a:pPr algn="ctr"/>
            <a:endParaRPr lang="ru-RU" sz="2800" b="1" dirty="0">
              <a:solidFill>
                <a:schemeClr val="bg1"/>
              </a:solidFill>
            </a:endParaRPr>
          </a:p>
          <a:p>
            <a:pPr algn="ctr"/>
            <a:endParaRPr lang="ru-RU" sz="2800" b="1" dirty="0">
              <a:solidFill>
                <a:schemeClr val="bg1"/>
              </a:solidFill>
            </a:endParaRPr>
          </a:p>
          <a:p>
            <a:pPr algn="ctr"/>
            <a:r>
              <a:rPr lang="ru-RU" sz="2800" b="1" dirty="0">
                <a:solidFill>
                  <a:schemeClr val="bg1"/>
                </a:solidFill>
              </a:rPr>
              <a:t>    </a:t>
            </a:r>
          </a:p>
          <a:p>
            <a:pPr algn="ctr"/>
            <a:endParaRPr lang="ru-RU" sz="2800" b="1" dirty="0">
              <a:solidFill>
                <a:schemeClr val="bg1"/>
              </a:solidFill>
            </a:endParaRPr>
          </a:p>
          <a:p>
            <a:pPr algn="ctr"/>
            <a:r>
              <a:rPr lang="ru-RU" sz="2800" b="1" dirty="0">
                <a:solidFill>
                  <a:schemeClr val="bg1"/>
                </a:solidFill>
              </a:rPr>
              <a:t>                      </a:t>
            </a:r>
            <a:endParaRPr lang="ru-RU" sz="1400" b="1" dirty="0">
              <a:solidFill>
                <a:schemeClr val="bg1"/>
              </a:solidFill>
            </a:endParaRPr>
          </a:p>
          <a:p>
            <a:pPr algn="r"/>
            <a:endParaRPr lang="ru-RU" sz="1400" b="1" dirty="0">
              <a:solidFill>
                <a:schemeClr val="bg1"/>
              </a:solidFill>
            </a:endParaRPr>
          </a:p>
          <a:p>
            <a:pPr algn="r"/>
            <a:endParaRPr lang="ru-RU" sz="1400" b="1" dirty="0">
              <a:solidFill>
                <a:schemeClr val="bg1"/>
              </a:solidFill>
            </a:endParaRPr>
          </a:p>
          <a:p>
            <a:pPr algn="r"/>
            <a:endParaRPr lang="ru-RU" sz="1400" b="1" dirty="0">
              <a:solidFill>
                <a:schemeClr val="bg1"/>
              </a:solidFill>
            </a:endParaRPr>
          </a:p>
          <a:p>
            <a:pPr algn="r"/>
            <a:endParaRPr lang="ru-RU" sz="1400" b="1" dirty="0">
              <a:solidFill>
                <a:schemeClr val="bg1"/>
              </a:solidFill>
            </a:endParaRPr>
          </a:p>
        </p:txBody>
      </p:sp>
      <p:pic>
        <p:nvPicPr>
          <p:cNvPr id="14342" name="Picture 1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5288" y="188913"/>
            <a:ext cx="4918075" cy="1595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3" dist="53882" dir="13500000">
              <a:schemeClr val="bg2">
                <a:alpha val="50000"/>
              </a:schemeClr>
            </a:prstShdw>
          </a:effectLst>
        </p:spPr>
      </p:pic>
      <p:sp>
        <p:nvSpPr>
          <p:cNvPr id="14343" name="TextBox 8"/>
          <p:cNvSpPr txBox="1">
            <a:spLocks noChangeArrowheads="1"/>
          </p:cNvSpPr>
          <p:nvPr/>
        </p:nvSpPr>
        <p:spPr bwMode="auto">
          <a:xfrm>
            <a:off x="1890713" y="500063"/>
            <a:ext cx="4000500" cy="92392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b="1" dirty="0">
                <a:solidFill>
                  <a:srgbClr val="0070C0"/>
                </a:solidFill>
              </a:rPr>
              <a:t>МИНИСТЕРСТВО</a:t>
            </a:r>
            <a:br>
              <a:rPr lang="ru-RU" b="1" dirty="0">
                <a:solidFill>
                  <a:srgbClr val="0070C0"/>
                </a:solidFill>
              </a:rPr>
            </a:br>
            <a:r>
              <a:rPr lang="ru-RU" b="1" dirty="0">
                <a:solidFill>
                  <a:srgbClr val="0070C0"/>
                </a:solidFill>
              </a:rPr>
              <a:t>ЗДРАВООХРАНЕНИЯ</a:t>
            </a:r>
            <a:br>
              <a:rPr lang="ru-RU" b="1" dirty="0">
                <a:solidFill>
                  <a:srgbClr val="0070C0"/>
                </a:solidFill>
              </a:rPr>
            </a:br>
            <a:r>
              <a:rPr lang="ru-RU" b="1" dirty="0">
                <a:solidFill>
                  <a:srgbClr val="0070C0"/>
                </a:solidFill>
              </a:rPr>
              <a:t>РОССИЙСКОЙ ФЕДЕРАЦИИ</a:t>
            </a:r>
          </a:p>
        </p:txBody>
      </p:sp>
      <p:sp>
        <p:nvSpPr>
          <p:cNvPr id="14344" name="Подзаголовок 2"/>
          <p:cNvSpPr txBox="1">
            <a:spLocks/>
          </p:cNvSpPr>
          <p:nvPr/>
        </p:nvSpPr>
        <p:spPr bwMode="auto">
          <a:xfrm>
            <a:off x="6443663" y="6357938"/>
            <a:ext cx="2003425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5782" tIns="47891" rIns="95782" bIns="47891"/>
          <a:lstStyle/>
          <a:p>
            <a:pPr algn="ctr" defTabSz="957263">
              <a:lnSpc>
                <a:spcPct val="80000"/>
              </a:lnSpc>
              <a:spcBef>
                <a:spcPct val="20000"/>
              </a:spcBef>
            </a:pPr>
            <a:r>
              <a:rPr lang="ru-RU" sz="1700" dirty="0" smtClean="0">
                <a:solidFill>
                  <a:srgbClr val="7F7F7F"/>
                </a:solidFill>
                <a:latin typeface="Helios"/>
              </a:rPr>
              <a:t>2018 </a:t>
            </a:r>
            <a:r>
              <a:rPr lang="ru-RU" sz="1700" dirty="0">
                <a:solidFill>
                  <a:srgbClr val="7F7F7F"/>
                </a:solidFill>
                <a:latin typeface="Helios"/>
              </a:rPr>
              <a:t>г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/>
          <p:cNvGraphicFramePr>
            <a:graphicFrameLocks noChangeAspect="1"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123906" name="think-cell Slide" r:id="rId5" imgW="360" imgH="360" progId="">
              <p:embed/>
            </p:oleObj>
          </a:graphicData>
        </a:graphic>
      </p:graphicFrame>
      <p:sp>
        <p:nvSpPr>
          <p:cNvPr id="1027" name="Rectangle 10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bg2"/>
          </a:solidFill>
          <a:ln w="19050">
            <a:solidFill>
              <a:schemeClr val="accent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altLang="ru-RU">
              <a:latin typeface="Calibri" pitchFamily="34" charset="0"/>
              <a:sym typeface="Arial" charset="0"/>
            </a:endParaRPr>
          </a:p>
        </p:txBody>
      </p:sp>
      <p:sp>
        <p:nvSpPr>
          <p:cNvPr id="1028" name="Rectangle 2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bg2"/>
          </a:solidFill>
          <a:ln w="19050">
            <a:solidFill>
              <a:schemeClr val="accent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altLang="ru-RU" sz="1000">
              <a:latin typeface="Calibri" pitchFamily="34" charset="0"/>
              <a:sym typeface="Arial" charset="0"/>
            </a:endParaRPr>
          </a:p>
        </p:txBody>
      </p:sp>
      <p:sp>
        <p:nvSpPr>
          <p:cNvPr id="1029" name="Заголовок 1"/>
          <p:cNvSpPr txBox="1">
            <a:spLocks/>
          </p:cNvSpPr>
          <p:nvPr/>
        </p:nvSpPr>
        <p:spPr bwMode="auto">
          <a:xfrm>
            <a:off x="179512" y="116633"/>
            <a:ext cx="8770938" cy="360040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lIns="95782" tIns="47891" rIns="95782" bIns="47891" anchor="ctr"/>
          <a:lstStyle/>
          <a:p>
            <a:pPr algn="ctr" defTabSz="957263"/>
            <a:r>
              <a:rPr lang="ru-RU" sz="20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Тарифы на оплату единиц объема медицинской помощи </a:t>
            </a:r>
            <a:endParaRPr lang="ru-RU" sz="20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1106488" y="0"/>
            <a:ext cx="1428750" cy="14446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1031" name="Picture 1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9538" y="6183313"/>
            <a:ext cx="1684337" cy="67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3" dist="53882" dir="13500000">
              <a:schemeClr val="bg2">
                <a:alpha val="50000"/>
              </a:schemeClr>
            </a:prstShdw>
          </a:effectLst>
        </p:spPr>
      </p:pic>
      <p:sp>
        <p:nvSpPr>
          <p:cNvPr id="19460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9464" name="Rectangle 8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9466" name="Rectangle 10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9468" name="Rectangle 1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179512" y="548680"/>
            <a:ext cx="8856984" cy="864096"/>
          </a:xfrm>
          <a:prstGeom prst="roundRect">
            <a:avLst>
              <a:gd name="adj" fmla="val 0"/>
            </a:avLst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t"/>
          <a:lstStyle/>
          <a:p>
            <a:pPr algn="just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В расчет тарифов включаются затраты медицинской организации, 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непосредственно связанные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с оказанием медицинской помощи (медицинской услуги) и 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потребляемые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в процессе ее предоставления (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Т</a:t>
            </a:r>
            <a:r>
              <a:rPr lang="ru-RU" sz="800" b="1" dirty="0" smtClean="0">
                <a:latin typeface="Times New Roman" pitchFamily="18" charset="0"/>
                <a:cs typeface="Times New Roman" pitchFamily="18" charset="0"/>
              </a:rPr>
              <a:t>П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), и затраты, необходимые для обеспечения деятельности медицинской организации в целом, но 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не потребляемые непосредственно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в процессе оказания медицинской помощи (медицинской услуги)(</a:t>
            </a: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Т</a:t>
            </a:r>
            <a:r>
              <a:rPr lang="ru-RU" sz="800" b="1" dirty="0" smtClean="0">
                <a:latin typeface="Times New Roman" pitchFamily="18" charset="0"/>
                <a:cs typeface="Times New Roman" pitchFamily="18" charset="0"/>
              </a:rPr>
              <a:t>НП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).</a:t>
            </a:r>
            <a:endParaRPr lang="ru-RU" sz="1200" dirty="0">
              <a:latin typeface="Times New Roman" pitchFamily="18" charset="0"/>
              <a:ea typeface="Times New Roman"/>
              <a:cs typeface="Times New Roman" pitchFamily="18" charset="0"/>
            </a:endParaRPr>
          </a:p>
        </p:txBody>
      </p:sp>
      <p:sp>
        <p:nvSpPr>
          <p:cNvPr id="22535" name="Rectangle 7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3556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3558" name="Rectangle 6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3560" name="Rectangle 8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3562" name="Rectangle 10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179512" y="2204864"/>
            <a:ext cx="8856984" cy="1584176"/>
          </a:xfrm>
          <a:prstGeom prst="roundRect">
            <a:avLst>
              <a:gd name="adj" fmla="val 0"/>
            </a:avLst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t"/>
          <a:lstStyle/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В составе затрат, 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непосредственно связанных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с оказанием медицинской помощи (медицинской услуги), учитываются следующие группы затрат:</a:t>
            </a:r>
          </a:p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- затраты на оплату труда и начисления на выплаты по оплате труда персонала, принимающего непосредственное участие в оказании медицинской помощи (медицинской услуги);</a:t>
            </a:r>
          </a:p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- затраты на приобретение материальных запасов, потребляемых в процессе оказания медицинской помощи (медицинской услуги);</a:t>
            </a:r>
          </a:p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- затраты на амортизацию основных средств (оборудование, производственный и хозяйственный инвентарь), используемых при оказании медицинской помощи (медицинской услуги);</a:t>
            </a:r>
          </a:p>
          <a:p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- иные затраты, непосредственно связанные с оказанием медицинской помощи (медицинской услуги).</a:t>
            </a:r>
            <a:endParaRPr lang="ru-RU" sz="1200" dirty="0" smtClean="0">
              <a:latin typeface="Times New Roman" pitchFamily="18" charset="0"/>
              <a:cs typeface="Times New Roman" pitchFamily="18" charset="0"/>
              <a:hlinkClick r:id="rId7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179512" y="3933056"/>
            <a:ext cx="8856984" cy="2304256"/>
          </a:xfrm>
          <a:prstGeom prst="roundRect">
            <a:avLst>
              <a:gd name="adj" fmla="val 0"/>
            </a:avLst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t"/>
          <a:lstStyle/>
          <a:p>
            <a:pPr algn="just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В составе затрат, необходимых для обеспечения деятельности медицинской организации в целом, но 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не потребляемые непосредственно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в процессе оказания медицинской помощи (медицинской услуги) выделяются следующие группы затрат:</a:t>
            </a:r>
          </a:p>
          <a:p>
            <a:pPr algn="just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- затраты на оплату труда и начисления на выплаты по оплате труда работников медицинских организаций, которые не принимают непосредственного участия в оказании медицинской помощи (медицинской услуги);</a:t>
            </a:r>
          </a:p>
          <a:p>
            <a:pPr algn="just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- затраты на коммунальные услуги;</a:t>
            </a:r>
          </a:p>
          <a:p>
            <a:pPr algn="just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- затраты на содержание объектов недвижимого имущества;</a:t>
            </a:r>
          </a:p>
          <a:p>
            <a:pPr algn="just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- затраты на содержание объектов движимого имущества;</a:t>
            </a:r>
          </a:p>
          <a:p>
            <a:pPr algn="just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- затраты на приобретение услуг связи;</a:t>
            </a:r>
          </a:p>
          <a:p>
            <a:pPr algn="just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- затраты на приобретение транспортных услуг;</a:t>
            </a:r>
          </a:p>
          <a:p>
            <a:pPr algn="just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- затраты на амортизацию оборудования, непосредственно не используемого при оказании медицинской помощи (медицинской услуги);</a:t>
            </a:r>
          </a:p>
          <a:p>
            <a:pPr algn="just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- прочие затраты на общехозяйственные нужды.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2771800" y="1484784"/>
            <a:ext cx="2304256" cy="576064"/>
          </a:xfrm>
          <a:prstGeom prst="roundRect">
            <a:avLst>
              <a:gd name="adj" fmla="val 0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Т</a:t>
            </a:r>
            <a:r>
              <a:rPr lang="ru-RU" sz="900" dirty="0" smtClean="0">
                <a:latin typeface="Times New Roman" pitchFamily="18" charset="0"/>
                <a:cs typeface="Times New Roman" pitchFamily="18" charset="0"/>
              </a:rPr>
              <a:t>БАЗ 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= Т</a:t>
            </a:r>
            <a:r>
              <a:rPr lang="ru-RU" sz="900" dirty="0" smtClean="0">
                <a:latin typeface="Times New Roman" pitchFamily="18" charset="0"/>
                <a:cs typeface="Times New Roman" pitchFamily="18" charset="0"/>
              </a:rPr>
              <a:t>П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+Т</a:t>
            </a:r>
            <a:r>
              <a:rPr lang="ru-RU" sz="900" dirty="0" smtClean="0">
                <a:latin typeface="Times New Roman" pitchFamily="18" charset="0"/>
                <a:cs typeface="Times New Roman" pitchFamily="18" charset="0"/>
              </a:rPr>
              <a:t>НП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 </a:t>
            </a:r>
            <a:endParaRPr lang="ru-RU" sz="900" dirty="0">
              <a:latin typeface="Times New Roman" pitchFamily="18" charset="0"/>
              <a:ea typeface="Times New Roman"/>
              <a:cs typeface="Times New Roman" pitchFamily="18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355976" y="6268444"/>
            <a:ext cx="3440112" cy="589556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/>
          </a:p>
        </p:txBody>
      </p:sp>
      <p:sp>
        <p:nvSpPr>
          <p:cNvPr id="23" name="Прямоугольник 22"/>
          <p:cNvSpPr/>
          <p:nvPr/>
        </p:nvSpPr>
        <p:spPr>
          <a:xfrm>
            <a:off x="7773862" y="6279756"/>
            <a:ext cx="45719" cy="578244"/>
          </a:xfrm>
          <a:prstGeom prst="rect">
            <a:avLst/>
          </a:prstGeom>
          <a:solidFill>
            <a:srgbClr val="FF5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/>
          <p:cNvGraphicFramePr>
            <a:graphicFrameLocks noChangeAspect="1"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125954" name="think-cell Slide" r:id="rId5" imgW="360" imgH="360" progId="">
              <p:embed/>
            </p:oleObj>
          </a:graphicData>
        </a:graphic>
      </p:graphicFrame>
      <p:sp>
        <p:nvSpPr>
          <p:cNvPr id="1027" name="Rectangle 10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bg2"/>
          </a:solidFill>
          <a:ln w="19050">
            <a:solidFill>
              <a:schemeClr val="accent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altLang="ru-RU">
              <a:latin typeface="Calibri" pitchFamily="34" charset="0"/>
              <a:sym typeface="Arial" charset="0"/>
            </a:endParaRPr>
          </a:p>
        </p:txBody>
      </p:sp>
      <p:sp>
        <p:nvSpPr>
          <p:cNvPr id="1028" name="Rectangle 2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bg2"/>
          </a:solidFill>
          <a:ln w="19050">
            <a:solidFill>
              <a:schemeClr val="accent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altLang="ru-RU" sz="1000">
              <a:latin typeface="Calibri" pitchFamily="34" charset="0"/>
              <a:sym typeface="Arial" charset="0"/>
            </a:endParaRPr>
          </a:p>
        </p:txBody>
      </p:sp>
      <p:sp>
        <p:nvSpPr>
          <p:cNvPr id="1029" name="Заголовок 1"/>
          <p:cNvSpPr txBox="1">
            <a:spLocks/>
          </p:cNvSpPr>
          <p:nvPr/>
        </p:nvSpPr>
        <p:spPr bwMode="auto">
          <a:xfrm>
            <a:off x="193675" y="142875"/>
            <a:ext cx="8770938" cy="765845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lIns="95782" tIns="47891" rIns="95782" bIns="47891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СНОВНЫЕ ПОДХОДЫ К ОПЛАТЕ МЕДИЦИНСКОЙ ПОМОЩИ </a:t>
            </a:r>
            <a:br>
              <a:rPr lang="ru-RU" sz="16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16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ПО КЛИНИКО-СТАТИСТИЧЕСКИМ ГРУППАМ (КСГ) И КЛИНИКО-ПРОФИЛЬНЫМ ГРУППАМ (КПГ) ЗАБОЛЕВАНИЙ</a:t>
            </a:r>
            <a:endParaRPr lang="ru-RU" sz="16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1106488" y="0"/>
            <a:ext cx="1428750" cy="14446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1031" name="Picture 1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9538" y="6183313"/>
            <a:ext cx="1684337" cy="67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3" dist="53882" dir="13500000">
              <a:schemeClr val="bg2">
                <a:alpha val="50000"/>
              </a:schemeClr>
            </a:prstShdw>
          </a:effectLst>
        </p:spPr>
      </p:pic>
      <p:sp>
        <p:nvSpPr>
          <p:cNvPr id="15364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5366" name="Rectangle 6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5368" name="Rectangle 8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9700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9702" name="Rectangle 6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9704" name="Rectangle 8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9706" name="Rectangle 10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9708" name="Rectangle 1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9710" name="Rectangle 1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9712" name="Rectangle 16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9713" name="Rectangle 17"/>
          <p:cNvSpPr>
            <a:spLocks noChangeArrowheads="1"/>
          </p:cNvSpPr>
          <p:nvPr/>
        </p:nvSpPr>
        <p:spPr bwMode="auto">
          <a:xfrm>
            <a:off x="0" y="695325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0724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30725" name="Rectangle 5"/>
          <p:cNvSpPr>
            <a:spLocks noChangeArrowheads="1"/>
          </p:cNvSpPr>
          <p:nvPr/>
        </p:nvSpPr>
        <p:spPr bwMode="auto">
          <a:xfrm>
            <a:off x="0" y="72390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0727" name="Rectangle 7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30730" name="Rectangle 10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3203848" y="6354340"/>
            <a:ext cx="3456384" cy="50366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6660232" y="6359103"/>
            <a:ext cx="45719" cy="498897"/>
          </a:xfrm>
          <a:prstGeom prst="rect">
            <a:avLst/>
          </a:prstGeom>
          <a:solidFill>
            <a:srgbClr val="FF5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179512" y="1052736"/>
            <a:ext cx="8856984" cy="5040560"/>
          </a:xfrm>
          <a:prstGeom prst="roundRect">
            <a:avLst>
              <a:gd name="adj" fmla="val 0"/>
            </a:avLst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t"/>
          <a:lstStyle/>
          <a:p>
            <a:pPr indent="452438" algn="ctr">
              <a:lnSpc>
                <a:spcPct val="90000"/>
              </a:lnSpc>
              <a:spcBef>
                <a:spcPts val="600"/>
              </a:spcBef>
              <a:defRPr/>
            </a:pPr>
            <a:r>
              <a:rPr lang="ru-RU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плата за счет средств обязательного медицинского страхования медицинской помощи, оказанной в стационарных условиях и в условиях дневного стационара, по КСГ (КПГ) осуществляется во всех страховых случаях, за исключением:</a:t>
            </a:r>
          </a:p>
          <a:p>
            <a:pPr indent="452438">
              <a:lnSpc>
                <a:spcPct val="90000"/>
              </a:lnSpc>
              <a:spcBef>
                <a:spcPts val="600"/>
              </a:spcBef>
              <a:defRPr/>
            </a:pPr>
            <a:endParaRPr lang="ru-RU" sz="1600" b="1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indent="452438" algn="just">
              <a:lnSpc>
                <a:spcPct val="90000"/>
              </a:lnSpc>
              <a:spcBef>
                <a:spcPts val="1000"/>
              </a:spcBef>
              <a:buFont typeface="Wingdings" pitchFamily="2" charset="2"/>
              <a:buChar char="§"/>
              <a:defRPr/>
            </a:pP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болеваний, при лечении которых применяются виды и методы медицинской помощи по перечню видов высокотехнологичной медицинской помощи, включенных в базовую программу обязательного медицинского страхования, на которые Программой установлены нормативы финансовых затрат на единицу предоставления медицинской помощи;</a:t>
            </a:r>
          </a:p>
          <a:p>
            <a:pPr indent="452438" algn="just">
              <a:lnSpc>
                <a:spcPct val="90000"/>
              </a:lnSpc>
              <a:spcBef>
                <a:spcPts val="1000"/>
              </a:spcBef>
              <a:buFont typeface="Wingdings" pitchFamily="2" charset="2"/>
              <a:buChar char="§"/>
              <a:defRPr/>
            </a:pP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циально-значимых заболеваний (заболевания, передаваемые половым путем, туберкулез, ВИЧ-инфекции и синдром приобретенного иммунодефицита, психические расстройства и расстройства поведения), в случае их финансирования в рамках территориальной программы обязательного медицинского страхования;</a:t>
            </a:r>
          </a:p>
          <a:p>
            <a:pPr indent="452438" algn="just">
              <a:lnSpc>
                <a:spcPct val="90000"/>
              </a:lnSpc>
              <a:spcBef>
                <a:spcPts val="1000"/>
              </a:spcBef>
              <a:buFont typeface="Wingdings" pitchFamily="2" charset="2"/>
              <a:buChar char="§"/>
              <a:defRPr/>
            </a:pP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болеваний, при лечении которых применяются виды и методы медицинской помощи по перечню видов высокотехнологичной медицинской помощи, не включенных в базовую программу обязательного медицинского страхования, для которых Программой государственных гарантий установлена средняя стоимость оказания медицинской помощи, в случае их финансирования в рамках территориальной программы обязательного медицинского страхования;</a:t>
            </a:r>
          </a:p>
          <a:p>
            <a:pPr indent="452438" algn="just">
              <a:lnSpc>
                <a:spcPct val="90000"/>
              </a:lnSpc>
              <a:spcBef>
                <a:spcPts val="1000"/>
              </a:spcBef>
              <a:buFont typeface="Wingdings" pitchFamily="2" charset="2"/>
              <a:buChar char="§"/>
              <a:defRPr/>
            </a:pP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цедур диализа, включающих  различные методы (оплата осуществляется за услугу).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/>
          <p:cNvGraphicFramePr>
            <a:graphicFrameLocks noChangeAspect="1"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126978" name="think-cell Slide" r:id="rId5" imgW="360" imgH="360" progId="">
              <p:embed/>
            </p:oleObj>
          </a:graphicData>
        </a:graphic>
      </p:graphicFrame>
      <p:sp>
        <p:nvSpPr>
          <p:cNvPr id="1027" name="Rectangle 10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bg2"/>
          </a:solidFill>
          <a:ln w="19050">
            <a:solidFill>
              <a:schemeClr val="accent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altLang="ru-RU">
              <a:latin typeface="Calibri" pitchFamily="34" charset="0"/>
              <a:sym typeface="Arial" charset="0"/>
            </a:endParaRPr>
          </a:p>
        </p:txBody>
      </p:sp>
      <p:sp>
        <p:nvSpPr>
          <p:cNvPr id="1028" name="Rectangle 2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bg2"/>
          </a:solidFill>
          <a:ln w="19050">
            <a:solidFill>
              <a:schemeClr val="accent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altLang="ru-RU" sz="1000">
              <a:latin typeface="Calibri" pitchFamily="34" charset="0"/>
              <a:sym typeface="Arial" charset="0"/>
            </a:endParaRPr>
          </a:p>
        </p:txBody>
      </p:sp>
      <p:sp>
        <p:nvSpPr>
          <p:cNvPr id="1029" name="Заголовок 1"/>
          <p:cNvSpPr txBox="1">
            <a:spLocks/>
          </p:cNvSpPr>
          <p:nvPr/>
        </p:nvSpPr>
        <p:spPr bwMode="auto">
          <a:xfrm>
            <a:off x="193675" y="142875"/>
            <a:ext cx="8770938" cy="765845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lIns="95782" tIns="47891" rIns="95782" bIns="47891" anchor="ctr"/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ОСНОВНЫЕ ПОДХОДЫ К ОПЛАТЕ ОТДЕЛЬНЫХ СЛУЧАЕВ ОКАЗАНИЯ МЕДИЦИНСКОЙ ПОМОЩИ ПО КСГ ИЛИ КПГ</a:t>
            </a:r>
            <a:endParaRPr lang="ru-RU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1106488" y="0"/>
            <a:ext cx="1428750" cy="14446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1031" name="Picture 1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9538" y="6183313"/>
            <a:ext cx="1684337" cy="67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3" dist="53882" dir="13500000">
              <a:schemeClr val="bg2">
                <a:alpha val="50000"/>
              </a:schemeClr>
            </a:prstShdw>
          </a:effectLst>
        </p:spPr>
      </p:pic>
      <p:sp>
        <p:nvSpPr>
          <p:cNvPr id="15364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5366" name="Rectangle 6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5368" name="Rectangle 8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9700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9702" name="Rectangle 6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9704" name="Rectangle 8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9706" name="Rectangle 10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9708" name="Rectangle 1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9710" name="Rectangle 1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9712" name="Rectangle 16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9713" name="Rectangle 17"/>
          <p:cNvSpPr>
            <a:spLocks noChangeArrowheads="1"/>
          </p:cNvSpPr>
          <p:nvPr/>
        </p:nvSpPr>
        <p:spPr bwMode="auto">
          <a:xfrm>
            <a:off x="0" y="695325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0724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30725" name="Rectangle 5"/>
          <p:cNvSpPr>
            <a:spLocks noChangeArrowheads="1"/>
          </p:cNvSpPr>
          <p:nvPr/>
        </p:nvSpPr>
        <p:spPr bwMode="auto">
          <a:xfrm>
            <a:off x="0" y="72390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0727" name="Rectangle 7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30730" name="Rectangle 10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3203848" y="6354340"/>
            <a:ext cx="3456384" cy="50366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6660232" y="6359103"/>
            <a:ext cx="45719" cy="498897"/>
          </a:xfrm>
          <a:prstGeom prst="rect">
            <a:avLst/>
          </a:prstGeom>
          <a:solidFill>
            <a:srgbClr val="FF5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179512" y="1052736"/>
            <a:ext cx="8856984" cy="360040"/>
          </a:xfrm>
          <a:prstGeom prst="roundRect">
            <a:avLst>
              <a:gd name="adj" fmla="val 0"/>
            </a:avLst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t"/>
          <a:lstStyle/>
          <a:p>
            <a:pPr algn="ctr"/>
            <a:r>
              <a:rPr lang="ru-RU" sz="1400" b="1" dirty="0" smtClean="0">
                <a:solidFill>
                  <a:srgbClr val="1F4E79"/>
                </a:solidFill>
                <a:latin typeface="Times New Roman" pitchFamily="18" charset="0"/>
                <a:cs typeface="Times New Roman" pitchFamily="18" charset="0"/>
              </a:rPr>
              <a:t>Расчет стоимости законченного случая лечения в стационарных условиях по системе КСГ (КПГ) </a:t>
            </a:r>
            <a:endParaRPr lang="ru-RU" sz="1400" dirty="0" smtClean="0">
              <a:solidFill>
                <a:schemeClr val="tx1"/>
              </a:solidFill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  <p:pic>
        <p:nvPicPr>
          <p:cNvPr id="29" name="Рисунок 28"/>
          <p:cNvPicPr/>
          <p:nvPr/>
        </p:nvPicPr>
        <p:blipFill rotWithShape="1">
          <a:blip r:embed="rId7" cstate="print"/>
          <a:srcRect l="38803" t="36019" r="22073" b="32926"/>
          <a:stretch/>
        </p:blipFill>
        <p:spPr bwMode="auto">
          <a:xfrm>
            <a:off x="179512" y="1647645"/>
            <a:ext cx="8640960" cy="4498178"/>
          </a:xfrm>
          <a:prstGeom prst="rect">
            <a:avLst/>
          </a:prstGeom>
          <a:ln>
            <a:noFill/>
          </a:ln>
          <a:effectLst>
            <a:softEdge rad="63500"/>
          </a:effectLst>
          <a:ex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/>
          <p:cNvGraphicFramePr>
            <a:graphicFrameLocks noChangeAspect="1"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128002" name="think-cell Slide" r:id="rId5" imgW="360" imgH="360" progId="">
              <p:embed/>
            </p:oleObj>
          </a:graphicData>
        </a:graphic>
      </p:graphicFrame>
      <p:sp>
        <p:nvSpPr>
          <p:cNvPr id="1027" name="Rectangle 10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bg2"/>
          </a:solidFill>
          <a:ln w="19050">
            <a:solidFill>
              <a:schemeClr val="accent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altLang="ru-RU">
              <a:latin typeface="Calibri" pitchFamily="34" charset="0"/>
              <a:sym typeface="Arial" charset="0"/>
            </a:endParaRPr>
          </a:p>
        </p:txBody>
      </p:sp>
      <p:sp>
        <p:nvSpPr>
          <p:cNvPr id="1028" name="Rectangle 2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bg2"/>
          </a:solidFill>
          <a:ln w="19050">
            <a:solidFill>
              <a:schemeClr val="accent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altLang="ru-RU" sz="1000">
              <a:latin typeface="Calibri" pitchFamily="34" charset="0"/>
              <a:sym typeface="Arial" charset="0"/>
            </a:endParaRPr>
          </a:p>
        </p:txBody>
      </p:sp>
      <p:sp>
        <p:nvSpPr>
          <p:cNvPr id="1029" name="Заголовок 1"/>
          <p:cNvSpPr txBox="1">
            <a:spLocks/>
          </p:cNvSpPr>
          <p:nvPr/>
        </p:nvSpPr>
        <p:spPr bwMode="auto">
          <a:xfrm>
            <a:off x="193674" y="142875"/>
            <a:ext cx="8842821" cy="621829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lIns="95782" tIns="47891" rIns="95782" bIns="47891" anchor="ctr"/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КОЭФФИЦИЕНТ УРОВНЯ ОКАЗАНИЯ МЕДИЦИНСКОЙ ПОМОЩИ</a:t>
            </a:r>
            <a:endParaRPr lang="ru-RU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1106488" y="0"/>
            <a:ext cx="1428750" cy="14446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1031" name="Picture 1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9538" y="6183313"/>
            <a:ext cx="1684337" cy="67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3" dist="53882" dir="13500000">
              <a:schemeClr val="bg2">
                <a:alpha val="50000"/>
              </a:schemeClr>
            </a:prstShdw>
          </a:effectLst>
        </p:spPr>
      </p:pic>
      <p:sp>
        <p:nvSpPr>
          <p:cNvPr id="15364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5366" name="Rectangle 6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5368" name="Rectangle 8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9700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9702" name="Rectangle 6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9704" name="Rectangle 8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9706" name="Rectangle 10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9708" name="Rectangle 1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9710" name="Rectangle 1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9712" name="Rectangle 16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9713" name="Rectangle 17"/>
          <p:cNvSpPr>
            <a:spLocks noChangeArrowheads="1"/>
          </p:cNvSpPr>
          <p:nvPr/>
        </p:nvSpPr>
        <p:spPr bwMode="auto">
          <a:xfrm>
            <a:off x="0" y="695325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0724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30725" name="Rectangle 5"/>
          <p:cNvSpPr>
            <a:spLocks noChangeArrowheads="1"/>
          </p:cNvSpPr>
          <p:nvPr/>
        </p:nvSpPr>
        <p:spPr bwMode="auto">
          <a:xfrm>
            <a:off x="0" y="72390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0727" name="Rectangle 7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30730" name="Rectangle 10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3203848" y="6354340"/>
            <a:ext cx="3456384" cy="50366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6660232" y="6359103"/>
            <a:ext cx="45719" cy="498897"/>
          </a:xfrm>
          <a:prstGeom prst="rect">
            <a:avLst/>
          </a:prstGeom>
          <a:solidFill>
            <a:srgbClr val="FF5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179512" y="5013176"/>
            <a:ext cx="8856984" cy="1008112"/>
          </a:xfrm>
          <a:prstGeom prst="roundRect">
            <a:avLst>
              <a:gd name="adj" fmla="val 0"/>
            </a:avLst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just"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* В случае выделения подуровней средневзвешенный КУС не может превышать рекомендованные средние значения.</a:t>
            </a:r>
          </a:p>
          <a:p>
            <a:pPr algn="just"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** В рамках каждого уровня может быть выделено не более 5 подуровней. </a:t>
            </a:r>
          </a:p>
          <a:p>
            <a:pPr algn="just"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Для </a:t>
            </a:r>
            <a:r>
              <a:rPr lang="ru-RU" sz="1200" b="1" dirty="0" smtClean="0">
                <a:latin typeface="Times New Roman" pitchFamily="18" charset="0"/>
                <a:cs typeface="Times New Roman" pitchFamily="18" charset="0"/>
              </a:rPr>
              <a:t>медицинских организаций, находящихся на территории закрытых административных территориальных образований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, выделяют подуровень в пределах соответствующего уровня с установлением КПУС не менее 1,2.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179512" y="836712"/>
            <a:ext cx="8856984" cy="576064"/>
          </a:xfrm>
          <a:prstGeom prst="roundRect">
            <a:avLst>
              <a:gd name="adj" fmla="val 0"/>
            </a:avLst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t"/>
          <a:lstStyle/>
          <a:p>
            <a:pPr indent="449263" algn="just">
              <a:defRPr/>
            </a:pP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Изменены правила установления коэффициентов уровня оказания медицинской помощи (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КУС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) и коэффициентов подуровня (</a:t>
            </a: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КПУС</a:t>
            </a:r>
            <a:r>
              <a:rPr lang="ru-RU" sz="1600" dirty="0" smtClean="0">
                <a:latin typeface="Times New Roman" pitchFamily="18" charset="0"/>
                <a:cs typeface="Times New Roman" pitchFamily="18" charset="0"/>
              </a:rPr>
              <a:t>):</a:t>
            </a:r>
            <a:endParaRPr lang="ru-RU" sz="16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32" name="Таблица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323781163"/>
              </p:ext>
            </p:extLst>
          </p:nvPr>
        </p:nvGraphicFramePr>
        <p:xfrm>
          <a:off x="179512" y="1700808"/>
          <a:ext cx="8856984" cy="3240360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221703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210514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214720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214720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400412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ровень медицинской организации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439" marR="5143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6 год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439" marR="5143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7 год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439" marR="5143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81935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раницы значений КУС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439" marR="5143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едние значения КУС*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439" marR="5143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раницы значений КПУС**</a:t>
                      </a:r>
                      <a:endParaRPr lang="ru-RU" sz="1400" b="1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439" marR="5143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400412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 уровень</a:t>
                      </a:r>
                    </a:p>
                  </a:txBody>
                  <a:tcPr marL="51439" marR="5143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&lt; 1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439" marR="5143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95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439" marR="5143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7 – 1,2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439" marR="5143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00412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2 уровень</a:t>
                      </a:r>
                    </a:p>
                  </a:txBody>
                  <a:tcPr marL="51439" marR="5143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9 – 1,2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439" marR="5143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1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439" marR="5143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9 – 1,3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439" marR="5143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00412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 уровень</a:t>
                      </a:r>
                    </a:p>
                  </a:txBody>
                  <a:tcPr marL="51439" marR="5143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1 – 1,5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439" marR="5143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3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439" marR="5143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1 – 1,5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439" marR="5143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819356"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3.1. в том числе федеральные </a:t>
                      </a:r>
                      <a:endParaRPr lang="ru-RU" sz="1400" b="1" kern="12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51439" marR="5143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4 – 1,7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439" marR="5143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439" marR="5143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400" dirty="0"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4 – 1,7</a:t>
                      </a:r>
                      <a:endParaRPr lang="ru-RU" sz="1400" dirty="0"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Calibri" panose="020F0502020204030204" pitchFamily="34" charset="0"/>
                        <a:cs typeface="Times New Roman" pitchFamily="18" charset="0"/>
                      </a:endParaRPr>
                    </a:p>
                  </a:txBody>
                  <a:tcPr marL="51439" marR="51439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/>
          <p:cNvGraphicFramePr>
            <a:graphicFrameLocks noChangeAspect="1"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149506" name="think-cell Slide" r:id="rId5" imgW="360" imgH="360" progId="">
              <p:embed/>
            </p:oleObj>
          </a:graphicData>
        </a:graphic>
      </p:graphicFrame>
      <p:sp>
        <p:nvSpPr>
          <p:cNvPr id="1027" name="Rectangle 10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bg2"/>
          </a:solidFill>
          <a:ln w="19050">
            <a:solidFill>
              <a:schemeClr val="accent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altLang="ru-RU">
              <a:latin typeface="Calibri" pitchFamily="34" charset="0"/>
              <a:sym typeface="Arial" charset="0"/>
            </a:endParaRPr>
          </a:p>
        </p:txBody>
      </p:sp>
      <p:sp>
        <p:nvSpPr>
          <p:cNvPr id="1028" name="Rectangle 2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bg2"/>
          </a:solidFill>
          <a:ln w="19050">
            <a:solidFill>
              <a:schemeClr val="accent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altLang="ru-RU" sz="1000">
              <a:latin typeface="Calibri" pitchFamily="34" charset="0"/>
              <a:sym typeface="Arial" charset="0"/>
            </a:endParaRPr>
          </a:p>
        </p:txBody>
      </p:sp>
      <p:sp>
        <p:nvSpPr>
          <p:cNvPr id="1029" name="Заголовок 1"/>
          <p:cNvSpPr txBox="1">
            <a:spLocks/>
          </p:cNvSpPr>
          <p:nvPr/>
        </p:nvSpPr>
        <p:spPr bwMode="auto">
          <a:xfrm>
            <a:off x="193675" y="142875"/>
            <a:ext cx="8770938" cy="1053877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lIns="95782" tIns="47891" rIns="95782" bIns="47891" anchor="ctr"/>
          <a:lstStyle/>
          <a:p>
            <a:pPr algn="ctr" defTabSz="957263"/>
            <a:r>
              <a:rPr lang="ru-RU" sz="20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Участие медицинских организаций, подведомственных федеральным органам исполнительной власти, в реализации территориальных программ обязательного медицинского страхования</a:t>
            </a:r>
            <a:endParaRPr lang="ru-RU" sz="14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1106488" y="0"/>
            <a:ext cx="1428750" cy="14446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1031" name="Picture 1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9538" y="6183313"/>
            <a:ext cx="1684337" cy="67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3" dist="53882" dir="13500000">
              <a:schemeClr val="bg2">
                <a:alpha val="50000"/>
              </a:schemeClr>
            </a:prstShdw>
          </a:effectLst>
        </p:spPr>
      </p:pic>
      <p:sp>
        <p:nvSpPr>
          <p:cNvPr id="10" name="Скругленный прямоугольник 9"/>
          <p:cNvSpPr/>
          <p:nvPr/>
        </p:nvSpPr>
        <p:spPr>
          <a:xfrm>
            <a:off x="107504" y="1412776"/>
            <a:ext cx="8885476" cy="864096"/>
          </a:xfrm>
          <a:prstGeom prst="roundRect">
            <a:avLst>
              <a:gd name="adj" fmla="val 0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lvl="0" algn="just" defTabSz="357188">
              <a:buFont typeface="Arial" pitchFamily="34" charset="0"/>
              <a:buChar char="•"/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Заявительное право на участие в реализации ТП ОМС</a:t>
            </a:r>
          </a:p>
          <a:p>
            <a:pPr lvl="0" algn="just" defTabSz="357188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( ст. 15 Федерального закона от 29.11.2010 N 326-ФЗ «Об обязательном медицинском страховании в Российской Федерации»).</a:t>
            </a:r>
            <a:endParaRPr lang="ru-RU" sz="1200" b="1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107504" y="4149080"/>
            <a:ext cx="8885476" cy="720080"/>
          </a:xfrm>
          <a:prstGeom prst="roundRect">
            <a:avLst>
              <a:gd name="adj" fmla="val 0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lvl="0" algn="just" defTabSz="357188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Требования к составу уведомления содержится в п. 92 Приказа Минздравсоцразвития России от 28.02.2011 N 158н «Об утверждении Правил обязательного медицинского страхования» 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07504" y="5157192"/>
            <a:ext cx="8885476" cy="792088"/>
          </a:xfrm>
          <a:prstGeom prst="roundRect">
            <a:avLst>
              <a:gd name="adj" fmla="val 0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just" defTabSz="357188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Комиссия по разработке территориальной программы обязательного медицинского страхования распределяет объемы предоставления медицинской помощи между страховыми медицинскими организациями и между медицинскими организациями.</a:t>
            </a:r>
            <a:endParaRPr lang="ru-RU" sz="1400" dirty="0" smtClean="0">
              <a:solidFill>
                <a:prstClr val="black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07504" y="2420888"/>
            <a:ext cx="8885476" cy="1440160"/>
          </a:xfrm>
          <a:prstGeom prst="roundRect">
            <a:avLst>
              <a:gd name="adj" fmla="val 0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just"/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рок подачи </a:t>
            </a:r>
            <a:r>
              <a:rPr lang="ru-RU" sz="1400" b="1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уведомления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в территориальный фонд - до 1 сентября года, предшествующего году, в котором медицинская организация намерена осуществлять деятельность в сфере обязательного медицинского страхования. Комиссией по разработке территориальной программы обязательного медицинского страхования в субъекте Российской Федерации могут быть установлены иные сроки подачи уведомления вновь создаваемыми медицинскими организациями.</a:t>
            </a: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  <a:hlinkClick r:id="rId7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355976" y="6154740"/>
            <a:ext cx="3440112" cy="70326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7773862" y="6168234"/>
            <a:ext cx="45719" cy="689766"/>
          </a:xfrm>
          <a:prstGeom prst="rect">
            <a:avLst/>
          </a:prstGeom>
          <a:solidFill>
            <a:srgbClr val="FF5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13"/>
          <p:cNvSpPr txBox="1">
            <a:spLocks noChangeArrowheads="1"/>
          </p:cNvSpPr>
          <p:nvPr/>
        </p:nvSpPr>
        <p:spPr bwMode="auto">
          <a:xfrm>
            <a:off x="179388" y="188913"/>
            <a:ext cx="8856662" cy="469900"/>
          </a:xfrm>
          <a:prstGeom prst="rect">
            <a:avLst/>
          </a:prstGeom>
          <a:solidFill>
            <a:srgbClr val="006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ru-RU"/>
            </a:defPPr>
            <a:lvl1pPr algn="ctr" fontAlgn="auto">
              <a:spcBef>
                <a:spcPts val="0"/>
              </a:spcBef>
              <a:spcAft>
                <a:spcPts val="0"/>
              </a:spcAft>
              <a:defRPr sz="2000"/>
            </a:lvl1pPr>
            <a:lvl2pPr fontAlgn="base">
              <a:spcBef>
                <a:spcPct val="0"/>
              </a:spcBef>
              <a:spcAft>
                <a:spcPct val="0"/>
              </a:spcAft>
            </a:lvl2pPr>
            <a:lvl3pPr fontAlgn="base">
              <a:spcBef>
                <a:spcPct val="0"/>
              </a:spcBef>
              <a:spcAft>
                <a:spcPct val="0"/>
              </a:spcAft>
            </a:lvl3pPr>
            <a:lvl4pPr fontAlgn="base">
              <a:spcBef>
                <a:spcPct val="0"/>
              </a:spcBef>
              <a:spcAft>
                <a:spcPct val="0"/>
              </a:spcAft>
            </a:lvl4pPr>
            <a:lvl5pPr fontAlgn="base">
              <a:spcBef>
                <a:spcPct val="0"/>
              </a:spcBef>
              <a:spcAft>
                <a:spcPct val="0"/>
              </a:spcAft>
            </a:lvl5pPr>
          </a:lstStyle>
          <a:p>
            <a:pPr>
              <a:defRPr/>
            </a:pPr>
            <a:r>
              <a:rPr lang="ru-RU" sz="1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сходы на здравоохранение в разрезе бюджетов бюджетной системы Российской Федерации (млрд. руб.)</a:t>
            </a:r>
          </a:p>
        </p:txBody>
      </p:sp>
      <p:pic>
        <p:nvPicPr>
          <p:cNvPr id="16538" name="Picture 1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4213" y="6181725"/>
            <a:ext cx="1943100" cy="676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3" dist="53882" dir="13500000">
              <a:schemeClr val="bg2">
                <a:alpha val="50000"/>
              </a:schemeClr>
            </a:prstShdw>
          </a:effectLst>
        </p:spPr>
      </p:pic>
      <p:sp>
        <p:nvSpPr>
          <p:cNvPr id="5" name="Прямоугольник 4"/>
          <p:cNvSpPr/>
          <p:nvPr/>
        </p:nvSpPr>
        <p:spPr>
          <a:xfrm>
            <a:off x="4356100" y="6319838"/>
            <a:ext cx="3440113" cy="4381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/>
          </a:p>
        </p:txBody>
      </p:sp>
      <p:sp>
        <p:nvSpPr>
          <p:cNvPr id="6" name="Прямоугольник 5"/>
          <p:cNvSpPr/>
          <p:nvPr/>
        </p:nvSpPr>
        <p:spPr>
          <a:xfrm flipH="1">
            <a:off x="7796213" y="6319838"/>
            <a:ext cx="69850" cy="438150"/>
          </a:xfrm>
          <a:prstGeom prst="rect">
            <a:avLst/>
          </a:prstGeom>
          <a:solidFill>
            <a:srgbClr val="FF5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251524" y="836713"/>
          <a:ext cx="8712960" cy="5212389"/>
        </p:xfrm>
        <a:graphic>
          <a:graphicData uri="http://schemas.openxmlformats.org/drawingml/2006/table">
            <a:tbl>
              <a:tblPr/>
              <a:tblGrid>
                <a:gridCol w="2939088"/>
                <a:gridCol w="616259"/>
                <a:gridCol w="616259"/>
                <a:gridCol w="616259"/>
                <a:gridCol w="616259"/>
                <a:gridCol w="616259"/>
                <a:gridCol w="616259"/>
                <a:gridCol w="692106"/>
                <a:gridCol w="692106"/>
                <a:gridCol w="692106"/>
              </a:tblGrid>
              <a:tr h="504055">
                <a:tc gridSpan="10">
                  <a:txBody>
                    <a:bodyPr/>
                    <a:lstStyle/>
                    <a:p>
                      <a:pPr algn="ctr" rtl="0" fontAlgn="ctr"/>
                      <a:r>
                        <a:rPr lang="ru-RU" sz="1600" b="1" i="0" u="none" strike="noStrike" dirty="0">
                          <a:solidFill>
                            <a:srgbClr val="005828"/>
                          </a:solidFill>
                          <a:latin typeface="Times New Roman"/>
                        </a:rPr>
                        <a:t>Расходы на здравоохранение в разрезе бюджетов бюджетной системы Российской Федерации 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BEEF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5869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5828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3D69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201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3D69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201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3D69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201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3D69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201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3D69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201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3D69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5828"/>
                          </a:solidFill>
                          <a:latin typeface="Times New Roman"/>
                        </a:rPr>
                        <a:t>2017</a:t>
                      </a:r>
                      <a:endParaRPr lang="ru-RU" sz="1400" b="1" i="0" u="none" strike="noStrike" dirty="0">
                        <a:solidFill>
                          <a:srgbClr val="005828"/>
                        </a:solidFill>
                        <a:latin typeface="Times New Roman"/>
                      </a:endParaRP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3D69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5828"/>
                          </a:solidFill>
                          <a:latin typeface="Times New Roman"/>
                        </a:rPr>
                        <a:t>2018</a:t>
                      </a:r>
                      <a:endParaRPr lang="ru-RU" sz="1400" b="1" i="0" u="none" strike="noStrike" dirty="0">
                        <a:solidFill>
                          <a:srgbClr val="005828"/>
                        </a:solidFill>
                        <a:latin typeface="Times New Roman"/>
                      </a:endParaRP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3D69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5828"/>
                          </a:solidFill>
                          <a:latin typeface="Times New Roman"/>
                        </a:rPr>
                        <a:t>2019</a:t>
                      </a:r>
                      <a:endParaRPr lang="ru-RU" sz="1400" b="1" i="0" u="none" strike="noStrike" dirty="0">
                        <a:solidFill>
                          <a:srgbClr val="005828"/>
                        </a:solidFill>
                        <a:latin typeface="Times New Roman"/>
                      </a:endParaRP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3D69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202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3D69B"/>
                    </a:solidFill>
                  </a:tcPr>
                </a:tc>
              </a:tr>
              <a:tr h="28586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(факт)</a:t>
                      </a:r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endParaRPr lang="ru-RU" sz="1400" b="1" i="0" u="none" strike="noStrike">
                        <a:solidFill>
                          <a:srgbClr val="005828"/>
                        </a:solidFill>
                        <a:latin typeface="Times New Roman"/>
                      </a:endParaRP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3D69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5828"/>
                          </a:solidFill>
                          <a:latin typeface="Times New Roman"/>
                        </a:rPr>
                        <a:t>(факт)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endParaRPr lang="ru-RU" sz="1400" b="1" i="0" u="none" strike="noStrike" dirty="0">
                        <a:solidFill>
                          <a:srgbClr val="005828"/>
                        </a:solidFill>
                        <a:latin typeface="Times New Roman"/>
                      </a:endParaRP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3D69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 (факт)</a:t>
                      </a:r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endParaRPr lang="ru-RU" sz="1400" b="1" i="0" u="none" strike="noStrike">
                        <a:solidFill>
                          <a:srgbClr val="005828"/>
                        </a:solidFill>
                        <a:latin typeface="Times New Roman"/>
                      </a:endParaRP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3D69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 (факт)</a:t>
                      </a:r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endParaRPr lang="ru-RU" sz="1400" b="1" i="0" u="none" strike="noStrike">
                        <a:solidFill>
                          <a:srgbClr val="005828"/>
                        </a:solidFill>
                        <a:latin typeface="Times New Roman"/>
                      </a:endParaRP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3D69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 (факт)</a:t>
                      </a:r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endParaRPr lang="ru-RU" sz="1400" b="1" i="0" u="none" strike="noStrike">
                        <a:solidFill>
                          <a:srgbClr val="005828"/>
                        </a:solidFill>
                        <a:latin typeface="Times New Roman"/>
                      </a:endParaRP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3D69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 (факт)</a:t>
                      </a:r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endParaRPr lang="ru-RU" sz="1400" b="1" i="0" u="none" strike="noStrike">
                        <a:solidFill>
                          <a:srgbClr val="005828"/>
                        </a:solidFill>
                        <a:latin typeface="Times New Roman"/>
                      </a:endParaRP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3D69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 (план)</a:t>
                      </a:r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endParaRPr lang="ru-RU" sz="1400" b="1" i="0" u="none" strike="noStrike">
                        <a:solidFill>
                          <a:srgbClr val="005828"/>
                        </a:solidFill>
                        <a:latin typeface="Times New Roman"/>
                      </a:endParaRP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3D69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 (план)</a:t>
                      </a:r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endParaRPr lang="ru-RU" sz="1400" b="1" i="0" u="none" strike="noStrike">
                        <a:solidFill>
                          <a:srgbClr val="005828"/>
                        </a:solidFill>
                        <a:latin typeface="Times New Roman"/>
                      </a:endParaRP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3D69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 (план)</a:t>
                      </a:r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endParaRPr lang="ru-RU" sz="1400" b="1" i="0" u="none" strike="noStrike">
                        <a:solidFill>
                          <a:srgbClr val="005828"/>
                        </a:solidFill>
                        <a:latin typeface="Times New Roman"/>
                      </a:endParaRP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3D69B"/>
                    </a:solidFill>
                  </a:tcPr>
                </a:tc>
              </a:tr>
              <a:tr h="61747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rgbClr val="005828"/>
                          </a:solidFill>
                          <a:latin typeface="Times New Roman"/>
                        </a:rPr>
                        <a:t>Всего расходы за счет государственных </a:t>
                      </a:r>
                      <a:r>
                        <a:rPr lang="ru-RU" sz="1400" b="1" i="0" u="none" strike="noStrike" dirty="0" smtClean="0">
                          <a:solidFill>
                            <a:srgbClr val="005828"/>
                          </a:solidFill>
                          <a:latin typeface="Times New Roman"/>
                        </a:rPr>
                        <a:t>источников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5828"/>
                          </a:solidFill>
                          <a:latin typeface="Times New Roman"/>
                        </a:rPr>
                        <a:t>2 283,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5828"/>
                          </a:solidFill>
                          <a:latin typeface="Times New Roman"/>
                        </a:rPr>
                        <a:t>2 318,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2 532,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2 594,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2 578,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2 957,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3 410,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3 443,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3 598,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DB4E3"/>
                    </a:solidFill>
                  </a:tcPr>
                </a:tc>
              </a:tr>
              <a:tr h="30873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1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в % от ВВП</a:t>
                      </a:r>
                      <a:r>
                        <a:rPr lang="ru-RU" sz="1400" b="0" i="1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endParaRPr lang="ru-RU" sz="1400" b="0" i="1" u="none" strike="noStrike">
                        <a:solidFill>
                          <a:srgbClr val="005828"/>
                        </a:solidFill>
                        <a:latin typeface="Times New Roman"/>
                      </a:endParaRP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1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3,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1" u="none" strike="noStrike" dirty="0">
                          <a:solidFill>
                            <a:srgbClr val="005828"/>
                          </a:solidFill>
                          <a:latin typeface="Times New Roman"/>
                        </a:rPr>
                        <a:t>3,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1" u="none" strike="noStrike" dirty="0">
                          <a:solidFill>
                            <a:srgbClr val="005828"/>
                          </a:solidFill>
                          <a:latin typeface="Times New Roman"/>
                        </a:rPr>
                        <a:t>3,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1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3,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1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3,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1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3,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1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3,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1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3,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1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3,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30873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0" i="1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Размер ВВП*, млрд. рублей 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1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68 163,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1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73 133,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1" u="none" strike="noStrike" dirty="0">
                          <a:solidFill>
                            <a:srgbClr val="005828"/>
                          </a:solidFill>
                          <a:latin typeface="Times New Roman"/>
                        </a:rPr>
                        <a:t>79 199,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1" u="none" strike="noStrike" dirty="0">
                          <a:solidFill>
                            <a:srgbClr val="005828"/>
                          </a:solidFill>
                          <a:latin typeface="Times New Roman"/>
                        </a:rPr>
                        <a:t>83 232,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1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86 043,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1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92 224,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1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97 462,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1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103 228,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0" i="1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110 237,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</a:tr>
              <a:tr h="617476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 dirty="0">
                          <a:solidFill>
                            <a:srgbClr val="005828"/>
                          </a:solidFill>
                          <a:latin typeface="Times New Roman"/>
                        </a:rPr>
                        <a:t>Федеральный бюджет с учетом межбюджетных трансфертов</a:t>
                      </a:r>
                      <a:r>
                        <a:rPr lang="ru-RU" sz="14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endParaRPr lang="ru-RU" sz="1400" b="1" i="0" u="none" strike="noStrike" dirty="0">
                        <a:solidFill>
                          <a:srgbClr val="005828"/>
                        </a:solidFill>
                        <a:latin typeface="Times New Roman"/>
                      </a:endParaRP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613,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502,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535,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5828"/>
                          </a:solidFill>
                          <a:latin typeface="Times New Roman"/>
                        </a:rPr>
                        <a:t>433,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5828"/>
                          </a:solidFill>
                          <a:latin typeface="Times New Roman"/>
                        </a:rPr>
                        <a:t>412,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5828"/>
                          </a:solidFill>
                          <a:latin typeface="Times New Roman"/>
                        </a:rPr>
                        <a:t>452,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475,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443,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514,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  <a:tr h="30873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% от общих расходов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26,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21,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21,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16,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16,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5828"/>
                          </a:solidFill>
                          <a:latin typeface="Times New Roman"/>
                        </a:rPr>
                        <a:t>15,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14,0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12,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14,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926215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Консолидированные бюджеты субъектов Российской Федерации </a:t>
                      </a:r>
                      <a:r>
                        <a:rPr lang="ru-RU" sz="1400" b="1" i="0" u="none" strike="noStrike">
                          <a:solidFill>
                            <a:srgbClr val="FF0000"/>
                          </a:solidFill>
                          <a:latin typeface="Times New Roman"/>
                        </a:rPr>
                        <a:t>без учета</a:t>
                      </a:r>
                      <a:r>
                        <a:rPr lang="ru-RU" sz="14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 межбюджетных трансфертов</a:t>
                      </a:r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endParaRPr lang="ru-RU" sz="1400" b="1" i="0" u="none" strike="noStrike">
                        <a:solidFill>
                          <a:srgbClr val="005828"/>
                        </a:solidFill>
                        <a:latin typeface="Times New Roman"/>
                      </a:endParaRP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738,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793,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757,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638,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576,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851,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5828"/>
                          </a:solidFill>
                          <a:latin typeface="Times New Roman"/>
                        </a:rPr>
                        <a:t>940,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5828"/>
                          </a:solidFill>
                          <a:latin typeface="Times New Roman"/>
                        </a:rPr>
                        <a:t>939,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945,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  <a:tr h="30873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% от общих расходов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32,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34,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29,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24,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22,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28,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27,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27,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5828"/>
                          </a:solidFill>
                          <a:latin typeface="Times New Roman"/>
                        </a:rPr>
                        <a:t>26,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  <a:tr h="30873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Государственные внебюджетные фонды</a:t>
                      </a:r>
                      <a:r>
                        <a:rPr lang="ru-RU" sz="14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 </a:t>
                      </a:r>
                      <a:endParaRPr lang="ru-RU" sz="1400" b="1" i="0" u="none" strike="noStrike">
                        <a:solidFill>
                          <a:srgbClr val="005828"/>
                        </a:solidFill>
                        <a:latin typeface="Times New Roman"/>
                      </a:endParaRP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931,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1 022,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1 239,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1 522,2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1 589,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1 654,3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1 993,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2 060,6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5828"/>
                          </a:solidFill>
                          <a:latin typeface="Times New Roman"/>
                        </a:rPr>
                        <a:t>2 137,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5D9F1"/>
                    </a:solidFill>
                  </a:tcPr>
                </a:tc>
              </a:tr>
              <a:tr h="308738">
                <a:tc>
                  <a:txBody>
                    <a:bodyPr/>
                    <a:lstStyle/>
                    <a:p>
                      <a:pPr algn="l" rtl="0" fontAlgn="ctr"/>
                      <a:r>
                        <a:rPr lang="ru-RU" sz="14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% от общих расходов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40,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44,1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48,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58,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61,7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55,9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58,5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>
                          <a:solidFill>
                            <a:srgbClr val="005828"/>
                          </a:solidFill>
                          <a:latin typeface="Times New Roman"/>
                        </a:rPr>
                        <a:t>59,8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b="1" i="0" u="none" strike="noStrike" dirty="0">
                          <a:solidFill>
                            <a:srgbClr val="005828"/>
                          </a:solidFill>
                          <a:latin typeface="Times New Roman"/>
                        </a:rPr>
                        <a:t>59,4</a:t>
                      </a:r>
                    </a:p>
                  </a:txBody>
                  <a:tcPr marL="5019" marR="5019" marT="50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DE9D9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107504" y="144463"/>
            <a:ext cx="8928992" cy="836265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lIns="95782" tIns="47891" rIns="95782" bIns="47891" anchor="ctr"/>
          <a:lstStyle>
            <a:defPPr>
              <a:defRPr lang="ru-RU"/>
            </a:defPPr>
            <a:lvl1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defRPr>
            </a:lvl1pPr>
          </a:lstStyle>
          <a:p>
            <a:pPr defTabSz="957263"/>
            <a:r>
              <a:rPr lang="ru-RU" sz="2000" dirty="0" smtClean="0">
                <a:latin typeface="Times New Roman" pitchFamily="18" charset="0"/>
              </a:rPr>
              <a:t>Источники финансирования медицинских организаций, подведомственных федеральным органам исполнительной власти</a:t>
            </a:r>
            <a:endParaRPr lang="ru-RU" sz="2000" dirty="0">
              <a:latin typeface="Times New Roman" pitchFamily="18" charset="0"/>
            </a:endParaRPr>
          </a:p>
        </p:txBody>
      </p:sp>
      <p:pic>
        <p:nvPicPr>
          <p:cNvPr id="6" name="Picture 1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5849070"/>
            <a:ext cx="1944216" cy="676273"/>
          </a:xfrm>
          <a:prstGeom prst="rect">
            <a:avLst/>
          </a:prstGeom>
          <a:noFill/>
          <a:ln>
            <a:noFill/>
          </a:ln>
          <a:effectLst>
            <a:prstShdw prst="shdw13" dist="53882" dir="13500000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4355976" y="5835576"/>
            <a:ext cx="3440112" cy="70326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395537" y="1196752"/>
          <a:ext cx="8568951" cy="4536505"/>
        </p:xfrm>
        <a:graphic>
          <a:graphicData uri="http://schemas.openxmlformats.org/drawingml/2006/table">
            <a:tbl>
              <a:tblPr/>
              <a:tblGrid>
                <a:gridCol w="2088231"/>
                <a:gridCol w="6480720"/>
              </a:tblGrid>
              <a:tr h="90100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Источник финансового обеспечения</a:t>
                      </a:r>
                    </a:p>
                  </a:txBody>
                  <a:tcPr marL="7762" marR="7762" marT="77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ctr" latinLnBrk="0" hangingPunct="1"/>
                      <a:r>
                        <a:rPr lang="ru-RU" sz="1800" b="0" i="0" u="none" strike="noStrike" kern="1200" dirty="0" smtClean="0">
                          <a:solidFill>
                            <a:srgbClr val="000000"/>
                          </a:solidFill>
                          <a:latin typeface="Times New Roman"/>
                          <a:ea typeface="+mn-ea"/>
                          <a:cs typeface="+mn-cs"/>
                        </a:rPr>
                        <a:t>Цель финансирования</a:t>
                      </a:r>
                      <a:endParaRPr lang="ru-RU" sz="1800" b="0" i="0" u="none" strike="noStrike" kern="1200" dirty="0">
                        <a:solidFill>
                          <a:srgbClr val="000000"/>
                        </a:solidFill>
                        <a:latin typeface="Times New Roman"/>
                        <a:ea typeface="+mn-ea"/>
                        <a:cs typeface="+mn-cs"/>
                      </a:endParaRPr>
                    </a:p>
                  </a:txBody>
                  <a:tcPr marL="6494" marR="6494" marT="64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7339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редства </a:t>
                      </a: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федерального бюджета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7762" marR="7762" marT="77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Финансирование медицинской помощи, не входящей в базовую программу обязательного медицинского страхования;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Субсидии на иные</a:t>
                      </a:r>
                      <a:r>
                        <a:rPr lang="ru-RU" sz="1400" b="1" kern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 цели.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Times New Roman" pitchFamily="18" charset="0"/>
                        <a:ea typeface="+mn-ea"/>
                        <a:cs typeface="Times New Roman" pitchFamily="18" charset="0"/>
                      </a:endParaRPr>
                    </a:p>
                  </a:txBody>
                  <a:tcPr marL="6494" marR="6494" marT="64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95507"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Средства ОМС</a:t>
                      </a:r>
                    </a:p>
                    <a:p>
                      <a:pPr algn="l" fontAlgn="ctr"/>
                      <a:endParaRPr lang="ru-RU" sz="1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7762" marR="7762" marT="77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Финансирование медицинской помощи, в том числе ВМП, входящей в базовую программу обязательного медицинского страхования;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Финансирование  высокотехнологической медицинской помощи, не входящей в базовую программу обязательного медицинского страхования;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Финансирование приобретения или ремонта оборудования из средств НСЗ ТФОМС.</a:t>
                      </a:r>
                      <a:endParaRPr lang="ru-RU" sz="18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494" marR="6494" marT="64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26659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Внебюджетные источники, в том числе личные средства граждан</a:t>
                      </a:r>
                      <a:endParaRPr lang="ru-RU" sz="18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7762" marR="7762" marT="77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Финансирование медицинской помощи, оказанной по договорам ДМС;</a:t>
                      </a:r>
                    </a:p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Финансирование медицинской помощи по договорам на оказание платных медицинских услуг за счет личных средств граждан;</a:t>
                      </a:r>
                    </a:p>
                    <a:p>
                      <a:pPr algn="just">
                        <a:buFont typeface="Arial" pitchFamily="34" charset="0"/>
                        <a:buChar char="•"/>
                      </a:pPr>
                      <a:r>
                        <a:rPr lang="ru-RU" sz="1400" b="1" dirty="0" smtClean="0">
                          <a:latin typeface="Times New Roman" pitchFamily="18" charset="0"/>
                          <a:cs typeface="Times New Roman" pitchFamily="18" charset="0"/>
                        </a:rPr>
                        <a:t>Финансирование медицинской помощи по договорам на оказание платных медицинских услуг за счет средств юридических лиц.</a:t>
                      </a:r>
                      <a:endParaRPr lang="ru-RU" sz="14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494" marR="6494" marT="64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1" name="Прямоугольник 10"/>
          <p:cNvSpPr/>
          <p:nvPr/>
        </p:nvSpPr>
        <p:spPr>
          <a:xfrm>
            <a:off x="7773862" y="5849070"/>
            <a:ext cx="45719" cy="689766"/>
          </a:xfrm>
          <a:prstGeom prst="rect">
            <a:avLst/>
          </a:prstGeom>
          <a:solidFill>
            <a:srgbClr val="FF5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135727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107504" y="144463"/>
            <a:ext cx="8928992" cy="836265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lIns="95782" tIns="47891" rIns="95782" bIns="47891" anchor="ctr"/>
          <a:lstStyle>
            <a:defPPr>
              <a:defRPr lang="ru-RU"/>
            </a:defPPr>
            <a:lvl1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defRPr>
            </a:lvl1pPr>
          </a:lstStyle>
          <a:p>
            <a:pPr defTabSz="957263"/>
            <a:r>
              <a:rPr lang="ru-RU" sz="2000" dirty="0" smtClean="0">
                <a:latin typeface="Times New Roman" pitchFamily="18" charset="0"/>
              </a:rPr>
              <a:t>Финансовое обеспечение  программы государственных гарантий бесплатного оказания гражданам медицинской помощи (без учета федерального бюджета) на 2017-2020 годы, млрд. рублей </a:t>
            </a:r>
            <a:endParaRPr lang="ru-RU" sz="2000" dirty="0">
              <a:latin typeface="Times New Roman" pitchFamily="18" charset="0"/>
            </a:endParaRPr>
          </a:p>
        </p:txBody>
      </p:sp>
      <p:pic>
        <p:nvPicPr>
          <p:cNvPr id="6" name="Picture 1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5849070"/>
            <a:ext cx="1944216" cy="676273"/>
          </a:xfrm>
          <a:prstGeom prst="rect">
            <a:avLst/>
          </a:prstGeom>
          <a:noFill/>
          <a:ln>
            <a:noFill/>
          </a:ln>
          <a:effectLst>
            <a:prstShdw prst="shdw13" dist="53882" dir="13500000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4355976" y="5835576"/>
            <a:ext cx="3440112" cy="70326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395537" y="1196752"/>
          <a:ext cx="8568949" cy="4392487"/>
        </p:xfrm>
        <a:graphic>
          <a:graphicData uri="http://schemas.openxmlformats.org/drawingml/2006/table">
            <a:tbl>
              <a:tblPr/>
              <a:tblGrid>
                <a:gridCol w="2092291"/>
                <a:gridCol w="1296784"/>
                <a:gridCol w="1278624"/>
                <a:gridCol w="1340375"/>
                <a:gridCol w="1264733"/>
                <a:gridCol w="1296142"/>
              </a:tblGrid>
              <a:tr h="139684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Источник финансового обеспечения</a:t>
                      </a:r>
                    </a:p>
                  </a:txBody>
                  <a:tcPr marL="7762" marR="7762" marT="77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17375E"/>
                          </a:solidFill>
                          <a:latin typeface="Times New Roman"/>
                        </a:rPr>
                        <a:t>2017</a:t>
                      </a:r>
                      <a:endParaRPr lang="ru-RU" sz="1800" b="1" i="0" u="none" strike="noStrike" dirty="0">
                        <a:solidFill>
                          <a:srgbClr val="17375E"/>
                        </a:solidFill>
                        <a:latin typeface="Times New Roman"/>
                      </a:endParaRPr>
                    </a:p>
                  </a:txBody>
                  <a:tcPr marL="6494" marR="6494" marT="64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17375E"/>
                          </a:solidFill>
                          <a:latin typeface="Times New Roman"/>
                        </a:rPr>
                        <a:t>2018</a:t>
                      </a:r>
                      <a:endParaRPr lang="ru-RU" sz="1800" b="1" i="0" u="none" strike="noStrike" dirty="0">
                        <a:solidFill>
                          <a:srgbClr val="17375E"/>
                        </a:solidFill>
                        <a:latin typeface="Times New Roman"/>
                      </a:endParaRPr>
                    </a:p>
                  </a:txBody>
                  <a:tcPr marL="6494" marR="6494" marT="64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>
                          <a:solidFill>
                            <a:srgbClr val="17375E"/>
                          </a:solidFill>
                          <a:latin typeface="Times New Roman"/>
                        </a:rPr>
                        <a:t>Темп прироста </a:t>
                      </a:r>
                      <a:r>
                        <a:rPr lang="ru-RU" sz="1800" b="1" i="0" u="none" strike="noStrike" dirty="0" smtClean="0">
                          <a:solidFill>
                            <a:srgbClr val="17375E"/>
                          </a:solidFill>
                          <a:latin typeface="Times New Roman"/>
                        </a:rPr>
                        <a:t>2018 </a:t>
                      </a:r>
                      <a:r>
                        <a:rPr lang="ru-RU" sz="1800" b="1" i="0" u="none" strike="noStrike" dirty="0">
                          <a:solidFill>
                            <a:srgbClr val="17375E"/>
                          </a:solidFill>
                          <a:latin typeface="Times New Roman"/>
                        </a:rPr>
                        <a:t>г. к </a:t>
                      </a:r>
                      <a:r>
                        <a:rPr lang="ru-RU" sz="1800" b="1" i="0" u="none" strike="noStrike" dirty="0" smtClean="0">
                          <a:solidFill>
                            <a:srgbClr val="17375E"/>
                          </a:solidFill>
                          <a:latin typeface="Times New Roman"/>
                        </a:rPr>
                        <a:t>2017 </a:t>
                      </a:r>
                      <a:r>
                        <a:rPr lang="ru-RU" sz="1800" b="1" i="0" u="none" strike="noStrike" dirty="0">
                          <a:solidFill>
                            <a:srgbClr val="17375E"/>
                          </a:solidFill>
                          <a:latin typeface="Times New Roman"/>
                        </a:rPr>
                        <a:t>г. %</a:t>
                      </a:r>
                    </a:p>
                  </a:txBody>
                  <a:tcPr marL="6494" marR="6494" marT="64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EEA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17375E"/>
                          </a:solidFill>
                          <a:latin typeface="Times New Roman"/>
                        </a:rPr>
                        <a:t>2019</a:t>
                      </a:r>
                      <a:endParaRPr lang="ru-RU" sz="1800" b="1" i="0" u="none" strike="noStrike" dirty="0">
                        <a:solidFill>
                          <a:srgbClr val="17375E"/>
                        </a:solidFill>
                        <a:latin typeface="Times New Roman"/>
                      </a:endParaRPr>
                    </a:p>
                  </a:txBody>
                  <a:tcPr marL="6494" marR="6494" marT="64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800" b="1" i="0" u="none" strike="noStrike" dirty="0" smtClean="0">
                          <a:solidFill>
                            <a:srgbClr val="17375E"/>
                          </a:solidFill>
                          <a:latin typeface="Times New Roman"/>
                        </a:rPr>
                        <a:t>2020</a:t>
                      </a:r>
                      <a:endParaRPr lang="ru-RU" sz="1800" b="1" i="0" u="none" strike="noStrike" dirty="0">
                        <a:solidFill>
                          <a:srgbClr val="17375E"/>
                        </a:solidFill>
                        <a:latin typeface="Times New Roman"/>
                      </a:endParaRPr>
                    </a:p>
                  </a:txBody>
                  <a:tcPr marL="6494" marR="6494" marT="64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EEAFF"/>
                    </a:solidFill>
                  </a:tcPr>
                </a:tc>
              </a:tr>
              <a:tr h="1127574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редства бюджета субъекта РФ</a:t>
                      </a:r>
                    </a:p>
                  </a:txBody>
                  <a:tcPr marL="7762" marR="7762" marT="77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latin typeface="Times New Roman" pitchFamily="18" charset="0"/>
                          <a:cs typeface="Times New Roman" pitchFamily="18" charset="0"/>
                        </a:rPr>
                        <a:t>604,2</a:t>
                      </a:r>
                      <a:endParaRPr lang="ru-RU" sz="18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494" marR="6494" marT="64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606,9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494" marR="6494" marT="64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0,4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494" marR="6494" marT="64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EEA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632,5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494" marR="6494" marT="64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658,8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494" marR="6494" marT="64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EEAFF"/>
                    </a:solidFill>
                  </a:tcPr>
                </a:tc>
              </a:tr>
              <a:tr h="97610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Средства ОМС</a:t>
                      </a:r>
                    </a:p>
                  </a:txBody>
                  <a:tcPr marL="7762" marR="7762" marT="77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latin typeface="Times New Roman" pitchFamily="18" charset="0"/>
                          <a:cs typeface="Times New Roman" pitchFamily="18" charset="0"/>
                        </a:rPr>
                        <a:t>1 537,2</a:t>
                      </a:r>
                      <a:endParaRPr lang="ru-RU" sz="18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494" marR="6494" marT="64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 870,5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494" marR="6494" marT="64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1,7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494" marR="6494" marT="64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 939,1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494" marR="6494" marT="64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</a:t>
                      </a:r>
                      <a:r>
                        <a:rPr lang="ru-RU" sz="1800" b="1" i="0" u="none" strike="noStrike" baseline="0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 016,7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494" marR="6494" marT="64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  <a:tr h="8919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Итого</a:t>
                      </a:r>
                    </a:p>
                  </a:txBody>
                  <a:tcPr marL="7762" marR="7762" marT="776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latin typeface="Times New Roman" pitchFamily="18" charset="0"/>
                          <a:cs typeface="Times New Roman" pitchFamily="18" charset="0"/>
                        </a:rPr>
                        <a:t>2 141,4</a:t>
                      </a:r>
                      <a:endParaRPr lang="ru-RU" sz="1800" b="1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494" marR="6494" marT="64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 477,4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494" marR="6494" marT="64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15,7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494" marR="6494" marT="64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EEA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 571,7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494" marR="6494" marT="64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 675,5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6494" marR="6494" marT="649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EEAFF"/>
                    </a:solidFill>
                  </a:tcPr>
                </a:tc>
              </a:tr>
            </a:tbl>
          </a:graphicData>
        </a:graphic>
      </p:graphicFrame>
      <p:sp>
        <p:nvSpPr>
          <p:cNvPr id="11" name="Прямоугольник 10"/>
          <p:cNvSpPr/>
          <p:nvPr/>
        </p:nvSpPr>
        <p:spPr>
          <a:xfrm>
            <a:off x="7773862" y="5849070"/>
            <a:ext cx="45719" cy="689766"/>
          </a:xfrm>
          <a:prstGeom prst="rect">
            <a:avLst/>
          </a:prstGeom>
          <a:solidFill>
            <a:srgbClr val="FF5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2135727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107504" y="144463"/>
            <a:ext cx="8928992" cy="1196305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lIns="95782" tIns="47891" rIns="95782" bIns="47891" anchor="ctr"/>
          <a:lstStyle>
            <a:defPPr>
              <a:defRPr lang="ru-RU"/>
            </a:defPPr>
            <a:lvl1pPr algn="ctr" fontAlgn="auto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8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defRPr>
            </a:lvl1pPr>
          </a:lstStyle>
          <a:p>
            <a:pPr defTabSz="957263"/>
            <a:r>
              <a:rPr lang="ru-RU" sz="2400" dirty="0" smtClean="0">
                <a:latin typeface="Times New Roman" pitchFamily="18" charset="0"/>
              </a:rPr>
              <a:t>Размер финансирования высокотехнологической медицинской помощи, не входящей в базовую программу обязательного медицинского страхования за счет средств ФОМС, </a:t>
            </a:r>
            <a:r>
              <a:rPr lang="ru-RU" sz="2000" dirty="0" smtClean="0">
                <a:latin typeface="Times New Roman" pitchFamily="18" charset="0"/>
              </a:rPr>
              <a:t>млн. </a:t>
            </a:r>
            <a:r>
              <a:rPr lang="ru-RU" sz="2000" dirty="0" err="1" smtClean="0">
                <a:latin typeface="Times New Roman" pitchFamily="18" charset="0"/>
              </a:rPr>
              <a:t>руб</a:t>
            </a:r>
            <a:endParaRPr lang="ru-RU" sz="2000" dirty="0">
              <a:latin typeface="Times New Roman" pitchFamily="18" charset="0"/>
            </a:endParaRPr>
          </a:p>
        </p:txBody>
      </p:sp>
      <p:pic>
        <p:nvPicPr>
          <p:cNvPr id="6" name="Picture 1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5616" y="5849070"/>
            <a:ext cx="1944216" cy="676273"/>
          </a:xfrm>
          <a:prstGeom prst="rect">
            <a:avLst/>
          </a:prstGeom>
          <a:noFill/>
          <a:ln>
            <a:noFill/>
          </a:ln>
          <a:effectLst>
            <a:prstShdw prst="shdw13" dist="53882" dir="13500000">
              <a:schemeClr val="bg2">
                <a:alpha val="50000"/>
              </a:schemeClr>
            </a:prstShdw>
          </a:effectLst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4355976" y="5835576"/>
            <a:ext cx="3440112" cy="70326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7773862" y="5849070"/>
            <a:ext cx="45719" cy="689766"/>
          </a:xfrm>
          <a:prstGeom prst="rect">
            <a:avLst/>
          </a:prstGeom>
          <a:solidFill>
            <a:srgbClr val="FF5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107504" y="1556792"/>
          <a:ext cx="8856984" cy="3888432"/>
        </p:xfrm>
        <a:graphic>
          <a:graphicData uri="http://schemas.openxmlformats.org/drawingml/2006/table">
            <a:tbl>
              <a:tblPr/>
              <a:tblGrid>
                <a:gridCol w="2037186"/>
                <a:gridCol w="1659192"/>
                <a:gridCol w="1563699"/>
                <a:gridCol w="1623382"/>
                <a:gridCol w="1973525"/>
              </a:tblGrid>
              <a:tr h="972108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 </a:t>
                      </a:r>
                    </a:p>
                  </a:txBody>
                  <a:tcPr marL="8223" marR="8223" marT="82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15 год</a:t>
                      </a:r>
                    </a:p>
                  </a:txBody>
                  <a:tcPr marL="8223" marR="8223" marT="82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16 год</a:t>
                      </a:r>
                    </a:p>
                  </a:txBody>
                  <a:tcPr marL="8223" marR="8223" marT="82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17 год</a:t>
                      </a:r>
                    </a:p>
                  </a:txBody>
                  <a:tcPr marL="8223" marR="8223" marT="82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018 год (план)</a:t>
                      </a:r>
                    </a:p>
                  </a:txBody>
                  <a:tcPr marL="8223" marR="8223" marT="82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72108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сего</a:t>
                      </a:r>
                    </a:p>
                  </a:txBody>
                  <a:tcPr marL="8223" marR="8223" marT="82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800" b="0" i="0" u="none" strike="noStrike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82 677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800" b="0" i="0" u="none" strike="noStrike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94 361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800" b="0" i="0" u="none" strike="noStrike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96 729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800" b="0" i="0" u="none" strike="noStrike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100 757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72108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ФГБУ</a:t>
                      </a:r>
                    </a:p>
                  </a:txBody>
                  <a:tcPr marL="8223" marR="8223" marT="82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800" b="0" i="0" u="none" strike="noStrike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77 642,8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800" b="0" i="0" u="none" strike="noStrike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88 961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800" b="0" i="0" u="none" strike="noStrike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90 729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800" b="0" i="0" u="none" strike="noStrike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94 517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72108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ЛПУ субъектов РФ</a:t>
                      </a:r>
                    </a:p>
                  </a:txBody>
                  <a:tcPr marL="8223" marR="8223" marT="8223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800" b="0" i="0" u="none" strike="noStrike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5 035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800" b="0" i="0" u="none" strike="noStrike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5 40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800" b="0" i="0" u="none" strike="noStrike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6 00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800" b="0" i="0" u="none" strike="noStrike" kern="1200" dirty="0">
                          <a:solidFill>
                            <a:srgbClr val="000000"/>
                          </a:solidFill>
                          <a:latin typeface="Times New Roman" pitchFamily="18" charset="0"/>
                          <a:ea typeface="+mn-ea"/>
                          <a:cs typeface="Times New Roman" pitchFamily="18" charset="0"/>
                        </a:rPr>
                        <a:t>6 240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="" xmlns:p14="http://schemas.microsoft.com/office/powerpoint/2010/main" val="21357273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/>
          <p:cNvGraphicFramePr>
            <a:graphicFrameLocks noChangeAspect="1"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86018" name="think-cell Slide" r:id="rId5" imgW="360" imgH="360" progId="">
              <p:embed/>
            </p:oleObj>
          </a:graphicData>
        </a:graphic>
      </p:graphicFrame>
      <p:sp>
        <p:nvSpPr>
          <p:cNvPr id="1027" name="Rectangle 10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bg2"/>
          </a:solidFill>
          <a:ln w="19050">
            <a:solidFill>
              <a:schemeClr val="accent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altLang="ru-RU">
              <a:latin typeface="Calibri" pitchFamily="34" charset="0"/>
              <a:sym typeface="Arial" charset="0"/>
            </a:endParaRPr>
          </a:p>
        </p:txBody>
      </p:sp>
      <p:sp>
        <p:nvSpPr>
          <p:cNvPr id="1028" name="Rectangle 2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bg2"/>
          </a:solidFill>
          <a:ln w="19050">
            <a:solidFill>
              <a:schemeClr val="accent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altLang="ru-RU" sz="1000">
              <a:latin typeface="Calibri" pitchFamily="34" charset="0"/>
              <a:sym typeface="Arial" charset="0"/>
            </a:endParaRPr>
          </a:p>
        </p:txBody>
      </p:sp>
      <p:sp>
        <p:nvSpPr>
          <p:cNvPr id="1029" name="Заголовок 1"/>
          <p:cNvSpPr txBox="1">
            <a:spLocks/>
          </p:cNvSpPr>
          <p:nvPr/>
        </p:nvSpPr>
        <p:spPr bwMode="auto">
          <a:xfrm>
            <a:off x="193675" y="142875"/>
            <a:ext cx="8770938" cy="1125885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lIns="95782" tIns="47891" rIns="95782" bIns="47891" anchor="ctr"/>
          <a:lstStyle/>
          <a:p>
            <a:pPr algn="ctr" defTabSz="957263"/>
            <a:r>
              <a:rPr lang="ru-RU" sz="20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Финансирование медицинской помощи в медицинских организациях, подведомственных Минздраву России по источникам финансирования в 2015-2017 гг. </a:t>
            </a:r>
            <a:r>
              <a:rPr lang="ru-RU" sz="14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(млн. рублей)</a:t>
            </a:r>
            <a:endParaRPr lang="ru-RU" sz="14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1106488" y="0"/>
            <a:ext cx="1428750" cy="14446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1031" name="Picture 1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9538" y="6183313"/>
            <a:ext cx="1684337" cy="67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3" dist="53882" dir="13500000">
              <a:schemeClr val="bg2">
                <a:alpha val="50000"/>
              </a:schemeClr>
            </a:prstShdw>
          </a:effectLst>
        </p:spPr>
      </p:pic>
      <p:sp>
        <p:nvSpPr>
          <p:cNvPr id="15364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5366" name="Rectangle 6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5368" name="Rectangle 8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9700" name="Rectangle 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9702" name="Rectangle 6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9704" name="Rectangle 8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9706" name="Rectangle 10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9708" name="Rectangle 1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9710" name="Rectangle 14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9712" name="Rectangle 16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9713" name="Rectangle 17"/>
          <p:cNvSpPr>
            <a:spLocks noChangeArrowheads="1"/>
          </p:cNvSpPr>
          <p:nvPr/>
        </p:nvSpPr>
        <p:spPr bwMode="auto">
          <a:xfrm>
            <a:off x="0" y="695325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0724" name="Rectangle 4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30725" name="Rectangle 5"/>
          <p:cNvSpPr>
            <a:spLocks noChangeArrowheads="1"/>
          </p:cNvSpPr>
          <p:nvPr/>
        </p:nvSpPr>
        <p:spPr bwMode="auto">
          <a:xfrm>
            <a:off x="0" y="72390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30727" name="Rectangle 7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30730" name="Rectangle 10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4" name="Прямоугольник 23"/>
          <p:cNvSpPr/>
          <p:nvPr/>
        </p:nvSpPr>
        <p:spPr>
          <a:xfrm>
            <a:off x="3203848" y="6354340"/>
            <a:ext cx="3456384" cy="50366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6660232" y="6359103"/>
            <a:ext cx="45719" cy="498897"/>
          </a:xfrm>
          <a:prstGeom prst="rect">
            <a:avLst/>
          </a:prstGeom>
          <a:solidFill>
            <a:srgbClr val="FF5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graphicFrame>
        <p:nvGraphicFramePr>
          <p:cNvPr id="27" name="Таблица 26"/>
          <p:cNvGraphicFramePr>
            <a:graphicFrameLocks noGrp="1"/>
          </p:cNvGraphicFramePr>
          <p:nvPr/>
        </p:nvGraphicFramePr>
        <p:xfrm>
          <a:off x="395536" y="1988838"/>
          <a:ext cx="8496944" cy="3600401"/>
        </p:xfrm>
        <a:graphic>
          <a:graphicData uri="http://schemas.openxmlformats.org/drawingml/2006/table">
            <a:tbl>
              <a:tblPr/>
              <a:tblGrid>
                <a:gridCol w="1533890"/>
                <a:gridCol w="1715535"/>
                <a:gridCol w="1876997"/>
                <a:gridCol w="1715535"/>
                <a:gridCol w="1654987"/>
              </a:tblGrid>
              <a:tr h="1793795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Средства 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федерального бюджета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ОМС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Платные </a:t>
                      </a:r>
                      <a:r>
                        <a:rPr lang="ru-RU" sz="1800" b="0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услуги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0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из них: личные средства граждан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02202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15 год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70 036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28 984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27 396,0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20 107,9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02202">
                <a:tc>
                  <a:txBody>
                    <a:bodyPr/>
                    <a:lstStyle/>
                    <a:p>
                      <a:pPr algn="l" fontAlgn="b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16 год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80 680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37 067,7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30 516,5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22 871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0220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800" b="1" i="0" u="none" strike="noStrike" dirty="0" smtClean="0">
                          <a:solidFill>
                            <a:srgbClr val="000000"/>
                          </a:solidFill>
                          <a:latin typeface="Times New Roman"/>
                        </a:rPr>
                        <a:t>2017 год</a:t>
                      </a:r>
                      <a:endParaRPr lang="ru-RU" sz="18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82 624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>
                          <a:solidFill>
                            <a:srgbClr val="000000"/>
                          </a:solidFill>
                          <a:latin typeface="Times New Roman"/>
                        </a:rPr>
                        <a:t>43 255,3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32 511,6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b="1" i="0" u="none" strike="noStrike" dirty="0">
                          <a:solidFill>
                            <a:srgbClr val="000000"/>
                          </a:solidFill>
                          <a:latin typeface="Times New Roman"/>
                        </a:rPr>
                        <a:t>24 874,4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/>
          <p:cNvGraphicFramePr>
            <a:graphicFrameLocks noChangeAspect="1"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118786" name="think-cell Slide" r:id="rId5" imgW="360" imgH="360" progId="">
              <p:embed/>
            </p:oleObj>
          </a:graphicData>
        </a:graphic>
      </p:graphicFrame>
      <p:sp>
        <p:nvSpPr>
          <p:cNvPr id="1027" name="Rectangle 10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bg2"/>
          </a:solidFill>
          <a:ln w="19050">
            <a:solidFill>
              <a:schemeClr val="accent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altLang="ru-RU">
              <a:latin typeface="Calibri" pitchFamily="34" charset="0"/>
              <a:sym typeface="Arial" charset="0"/>
            </a:endParaRPr>
          </a:p>
        </p:txBody>
      </p:sp>
      <p:sp>
        <p:nvSpPr>
          <p:cNvPr id="1028" name="Rectangle 2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bg2"/>
          </a:solidFill>
          <a:ln w="19050">
            <a:solidFill>
              <a:schemeClr val="accent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altLang="ru-RU" sz="1000">
              <a:latin typeface="Calibri" pitchFamily="34" charset="0"/>
              <a:sym typeface="Arial" charset="0"/>
            </a:endParaRPr>
          </a:p>
        </p:txBody>
      </p:sp>
      <p:sp>
        <p:nvSpPr>
          <p:cNvPr id="1029" name="Заголовок 1"/>
          <p:cNvSpPr txBox="1">
            <a:spLocks/>
          </p:cNvSpPr>
          <p:nvPr/>
        </p:nvSpPr>
        <p:spPr bwMode="auto">
          <a:xfrm>
            <a:off x="193675" y="142875"/>
            <a:ext cx="8770938" cy="693837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lIns="95782" tIns="47891" rIns="95782" bIns="47891" anchor="ctr"/>
          <a:lstStyle/>
          <a:p>
            <a:pPr algn="ctr" defTabSz="957263"/>
            <a:r>
              <a:rPr lang="ru-RU" sz="2000" b="1" dirty="0" smtClean="0">
                <a:solidFill>
                  <a:schemeClr val="bg1"/>
                </a:solidFill>
                <a:latin typeface="Times New Roman" panose="02020603050405020304" pitchFamily="18" charset="0"/>
              </a:rPr>
              <a:t>Нормативные правовые документы, регламентирующие формирование тарифа и способы оплаты медицинской помощи</a:t>
            </a:r>
            <a:endParaRPr lang="ru-RU" sz="20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1106488" y="0"/>
            <a:ext cx="1428750" cy="14446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1031" name="Picture 1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9538" y="6183313"/>
            <a:ext cx="1684337" cy="67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3" dist="53882" dir="13500000">
              <a:schemeClr val="bg2">
                <a:alpha val="50000"/>
              </a:schemeClr>
            </a:prstShdw>
          </a:effectLst>
        </p:spPr>
      </p:pic>
      <p:sp>
        <p:nvSpPr>
          <p:cNvPr id="9" name="Скругленный прямоугольник 8"/>
          <p:cNvSpPr/>
          <p:nvPr/>
        </p:nvSpPr>
        <p:spPr>
          <a:xfrm>
            <a:off x="107504" y="908720"/>
            <a:ext cx="8885476" cy="720080"/>
          </a:xfrm>
          <a:prstGeom prst="roundRect">
            <a:avLst>
              <a:gd name="adj" fmla="val 0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lvl="0" algn="just" defTabSz="357188"/>
            <a:r>
              <a:rPr lang="ru-RU" sz="1600" b="1" dirty="0" smtClean="0">
                <a:solidFill>
                  <a:schemeClr val="tx1"/>
                </a:solidFill>
                <a:latin typeface="Times New Roman" pitchFamily="18" charset="0"/>
                <a:ea typeface="Calibri" pitchFamily="34" charset="0"/>
                <a:cs typeface="Times New Roman" pitchFamily="18" charset="0"/>
              </a:rPr>
              <a:t>Постановление Правительства РФ от 08.12.2017 N 1492 «О Программе государственных гарантий бесплатного оказания гражданам медицинской помощи на 2018 год и на плановый период 2019 и 2020 годов». 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07504" y="1988840"/>
            <a:ext cx="8885476" cy="1152128"/>
          </a:xfrm>
          <a:prstGeom prst="roundRect">
            <a:avLst>
              <a:gd name="adj" fmla="val 0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lvl="0" algn="just" defTabSz="357188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Приказ Минздрава России от 25.06.2015 N 366н «Об утверждении Общих требований к определению нормативных затрат на оказание государственных (муниципальных) услуг в сфере здравоохранения, применяемых при расчете объема субсидии на финансовое обеспечение выполнения государственного (муниципального) задания на оказание государственных (муниципальных) услуг (выполнение работ) государственным (муниципальным) учреждением».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107504" y="3429000"/>
            <a:ext cx="8885476" cy="504056"/>
          </a:xfrm>
          <a:prstGeom prst="roundRect">
            <a:avLst>
              <a:gd name="adj" fmla="val 0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lvl="0" algn="just" defTabSz="357188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Приказ Минздравсоцразвития России от 28.02.2011 N 158н «Об утверждении Правил обязательного медицинского страхования»</a:t>
            </a:r>
            <a:r>
              <a:rPr lang="ru-RU" sz="1400" dirty="0" smtClean="0"/>
              <a:t> 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107504" y="4293096"/>
            <a:ext cx="8885476" cy="504056"/>
          </a:xfrm>
          <a:prstGeom prst="roundRect">
            <a:avLst>
              <a:gd name="adj" fmla="val 0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just" defTabSz="357188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Приказ ФФОМС от 18.11.2014 N 200 «Об установлении Требований к структуре и содержанию тарифного соглашения»</a:t>
            </a:r>
            <a:endParaRPr lang="ru-RU" sz="1400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07504" y="5157192"/>
            <a:ext cx="8885476" cy="720080"/>
          </a:xfrm>
          <a:prstGeom prst="roundRect">
            <a:avLst>
              <a:gd name="adj" fmla="val 0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just" defTabSz="357188"/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Письмо Минздрава России N 11-7/10/2-8080, ФФОМС N 13572/26-2/и от 21.11.2017 «О методических рекомендациях по способам оплаты медицинской помощи за счет средств обязательного медицинского страхования»</a:t>
            </a:r>
            <a:endParaRPr lang="ru-RU" sz="1400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4355976" y="6154740"/>
            <a:ext cx="3440112" cy="70326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7740352" y="6168234"/>
            <a:ext cx="45719" cy="689766"/>
          </a:xfrm>
          <a:prstGeom prst="rect">
            <a:avLst/>
          </a:prstGeom>
          <a:solidFill>
            <a:srgbClr val="FF5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/>
          <p:cNvGraphicFramePr>
            <a:graphicFrameLocks noChangeAspect="1"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119810" name="think-cell Slide" r:id="rId5" imgW="360" imgH="360" progId="">
              <p:embed/>
            </p:oleObj>
          </a:graphicData>
        </a:graphic>
      </p:graphicFrame>
      <p:sp>
        <p:nvSpPr>
          <p:cNvPr id="1027" name="Rectangle 10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bg2"/>
          </a:solidFill>
          <a:ln w="19050">
            <a:solidFill>
              <a:schemeClr val="accent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altLang="ru-RU">
              <a:latin typeface="Calibri" pitchFamily="34" charset="0"/>
              <a:sym typeface="Arial" charset="0"/>
            </a:endParaRPr>
          </a:p>
        </p:txBody>
      </p:sp>
      <p:sp>
        <p:nvSpPr>
          <p:cNvPr id="1028" name="Rectangle 2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bg2"/>
          </a:solidFill>
          <a:ln w="19050">
            <a:solidFill>
              <a:schemeClr val="accent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altLang="ru-RU" sz="1000">
              <a:latin typeface="Calibri" pitchFamily="34" charset="0"/>
              <a:sym typeface="Arial" charset="0"/>
            </a:endParaRPr>
          </a:p>
        </p:txBody>
      </p:sp>
      <p:sp>
        <p:nvSpPr>
          <p:cNvPr id="1029" name="Заголовок 1"/>
          <p:cNvSpPr txBox="1">
            <a:spLocks/>
          </p:cNvSpPr>
          <p:nvPr/>
        </p:nvSpPr>
        <p:spPr bwMode="auto">
          <a:xfrm>
            <a:off x="193675" y="142875"/>
            <a:ext cx="8770938" cy="981869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lIns="95782" tIns="47891" rIns="95782" bIns="47891" anchor="ctr"/>
          <a:lstStyle/>
          <a:p>
            <a:pPr algn="ctr" defTabSz="957263"/>
            <a:r>
              <a:rPr lang="ru-RU" sz="19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пособы оплаты медицинской помощи, оказываемой застрахованным лицам по обязательному медицинскому страхованию в Российской Федерации </a:t>
            </a:r>
            <a:endParaRPr lang="ru-RU" sz="19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1106488" y="0"/>
            <a:ext cx="1428750" cy="14446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1031" name="Picture 1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9538" y="6183313"/>
            <a:ext cx="1684337" cy="67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3" dist="53882" dir="13500000">
              <a:schemeClr val="bg2">
                <a:alpha val="50000"/>
              </a:schemeClr>
            </a:prstShdw>
          </a:effectLst>
        </p:spPr>
      </p:pic>
      <p:sp>
        <p:nvSpPr>
          <p:cNvPr id="9" name="Скругленный прямоугольник 8"/>
          <p:cNvSpPr/>
          <p:nvPr/>
        </p:nvSpPr>
        <p:spPr>
          <a:xfrm>
            <a:off x="107504" y="1268760"/>
            <a:ext cx="8885476" cy="3384376"/>
          </a:xfrm>
          <a:prstGeom prst="roundRect">
            <a:avLst>
              <a:gd name="adj" fmla="val 0"/>
            </a:avLst>
          </a:prstGeom>
          <a:solidFill>
            <a:schemeClr val="bg1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При оплате медицинской помощи, оказанной в амбулаторных условиях:</a:t>
            </a:r>
          </a:p>
          <a:p>
            <a:endParaRPr lang="ru-RU" sz="16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Wingdings" pitchFamily="2" charset="2"/>
              <a:buChar char="§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по </a:t>
            </a:r>
            <a:r>
              <a:rPr lang="ru-RU" sz="1400" dirty="0" err="1" smtClean="0">
                <a:latin typeface="Times New Roman" pitchFamily="18" charset="0"/>
                <a:cs typeface="Times New Roman" pitchFamily="18" charset="0"/>
              </a:rPr>
              <a:t>подушевому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нормативу финансирования на прикрепившихся лиц в сочетании с оплатой за единицу объема медицинской помощи - за медицинскую услугу, за посещение, за обращение (законченный случай);</a:t>
            </a:r>
          </a:p>
          <a:p>
            <a:pPr algn="just">
              <a:buFont typeface="Wingdings" pitchFamily="2" charset="2"/>
              <a:buChar char="§"/>
            </a:pPr>
            <a:endParaRPr lang="ru-RU" sz="1400" b="1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Wingdings" pitchFamily="2" charset="2"/>
              <a:buChar char="§"/>
            </a:pPr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за единицу объема медицинской помощи - за медицинскую услугу, за посещение, за обращение (законченный случай) (используется при оплате медицинской помощи, оказанной застрахованным лицам за пределами субъекта Российской Федерации, на территории которого выдан полис обязательного медицинского страхования, а также в отдельных медицинских организациях, не имеющих прикрепившихся лиц);</a:t>
            </a:r>
          </a:p>
          <a:p>
            <a:pPr algn="just">
              <a:buFont typeface="Wingdings" pitchFamily="2" charset="2"/>
              <a:buChar char="§"/>
            </a:pPr>
            <a:endParaRPr lang="ru-RU" sz="1400" b="1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Wingdings" pitchFamily="2" charset="2"/>
              <a:buChar char="§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по </a:t>
            </a:r>
            <a:r>
              <a:rPr lang="ru-RU" sz="1400" dirty="0" err="1" smtClean="0">
                <a:latin typeface="Times New Roman" pitchFamily="18" charset="0"/>
                <a:cs typeface="Times New Roman" pitchFamily="18" charset="0"/>
              </a:rPr>
              <a:t>подушевому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нормативу финансирования на прикрепившихся лиц с учетом показателей результативности деятельности медицинской организации, в том числе с включением расходов на медицинскую помощь, оказываемую в иных медицинских организациях (за единицу объема медицинской помощи).</a:t>
            </a:r>
            <a:endParaRPr lang="ru-RU" sz="1400" dirty="0" smtClean="0">
              <a:solidFill>
                <a:schemeClr val="tx1"/>
              </a:solidFill>
              <a:latin typeface="Times New Roman" pitchFamily="18" charset="0"/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07504" y="4869160"/>
            <a:ext cx="8885476" cy="1368152"/>
          </a:xfrm>
          <a:prstGeom prst="roundRect">
            <a:avLst>
              <a:gd name="adj" fmla="val 0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ru-RU" sz="1600" b="1" dirty="0" smtClean="0">
                <a:latin typeface="Times New Roman" pitchFamily="18" charset="0"/>
                <a:cs typeface="Times New Roman" pitchFamily="18" charset="0"/>
              </a:rPr>
              <a:t>При оплате скорой медицинской помощи, оказанной вне медицинской организации (по месту вызова бригады скорой, в том числе скорой специализированной, медицинской помощи, а также в транспортном средстве при медицинской эвакуации):</a:t>
            </a:r>
          </a:p>
          <a:p>
            <a:endParaRPr lang="ru-RU" sz="1400" b="1" dirty="0" smtClean="0"/>
          </a:p>
          <a:p>
            <a:pPr>
              <a:buFont typeface="Wingdings" pitchFamily="2" charset="2"/>
              <a:buChar char="§"/>
            </a:pPr>
            <a:r>
              <a:rPr lang="ru-RU" sz="1400" b="1" dirty="0" smtClean="0"/>
              <a:t>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по </a:t>
            </a:r>
            <a:r>
              <a:rPr lang="ru-RU" sz="1400" dirty="0" err="1" smtClean="0">
                <a:latin typeface="Times New Roman" pitchFamily="18" charset="0"/>
                <a:cs typeface="Times New Roman" pitchFamily="18" charset="0"/>
              </a:rPr>
              <a:t>подушевому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нормативу финансирования в сочетании с оплатой за вызов скорой медицинской помощи.</a:t>
            </a:r>
          </a:p>
          <a:p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 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355976" y="6309320"/>
            <a:ext cx="3440112" cy="54868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7740352" y="6309320"/>
            <a:ext cx="45719" cy="548680"/>
          </a:xfrm>
          <a:prstGeom prst="rect">
            <a:avLst/>
          </a:prstGeom>
          <a:solidFill>
            <a:srgbClr val="FF5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/>
          <p:cNvGraphicFramePr>
            <a:graphicFrameLocks noChangeAspect="1"/>
          </p:cNvGraphicFramePr>
          <p:nvPr/>
        </p:nvGraphicFramePr>
        <p:xfrm>
          <a:off x="0" y="0"/>
          <a:ext cx="161925" cy="161925"/>
        </p:xfrm>
        <a:graphic>
          <a:graphicData uri="http://schemas.openxmlformats.org/presentationml/2006/ole">
            <p:oleObj spid="_x0000_s120834" name="think-cell Slide" r:id="rId5" imgW="360" imgH="360" progId="">
              <p:embed/>
            </p:oleObj>
          </a:graphicData>
        </a:graphic>
      </p:graphicFrame>
      <p:sp>
        <p:nvSpPr>
          <p:cNvPr id="1027" name="Rectangle 10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bg2"/>
          </a:solidFill>
          <a:ln w="19050">
            <a:solidFill>
              <a:schemeClr val="accent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altLang="ru-RU">
              <a:latin typeface="Calibri" pitchFamily="34" charset="0"/>
              <a:sym typeface="Arial" charset="0"/>
            </a:endParaRPr>
          </a:p>
        </p:txBody>
      </p:sp>
      <p:sp>
        <p:nvSpPr>
          <p:cNvPr id="1028" name="Rectangle 27" hidden="1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0" y="0"/>
            <a:ext cx="161925" cy="161925"/>
          </a:xfrm>
          <a:prstGeom prst="rect">
            <a:avLst/>
          </a:prstGeom>
          <a:solidFill>
            <a:schemeClr val="bg2"/>
          </a:solidFill>
          <a:ln w="19050">
            <a:solidFill>
              <a:schemeClr val="accent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/>
            <a:endParaRPr lang="ru-RU" altLang="ru-RU" sz="1000">
              <a:latin typeface="Calibri" pitchFamily="34" charset="0"/>
              <a:sym typeface="Arial" charset="0"/>
            </a:endParaRPr>
          </a:p>
        </p:txBody>
      </p:sp>
      <p:sp>
        <p:nvSpPr>
          <p:cNvPr id="1029" name="Заголовок 1"/>
          <p:cNvSpPr txBox="1">
            <a:spLocks/>
          </p:cNvSpPr>
          <p:nvPr/>
        </p:nvSpPr>
        <p:spPr bwMode="auto">
          <a:xfrm>
            <a:off x="193675" y="142875"/>
            <a:ext cx="8770938" cy="981869"/>
          </a:xfrm>
          <a:prstGeom prst="rect">
            <a:avLst/>
          </a:prstGeom>
          <a:solidFill>
            <a:srgbClr val="0070C0"/>
          </a:solidFill>
          <a:ln w="9525">
            <a:noFill/>
            <a:miter lim="800000"/>
            <a:headEnd/>
            <a:tailEnd/>
          </a:ln>
        </p:spPr>
        <p:txBody>
          <a:bodyPr lIns="95782" tIns="47891" rIns="95782" bIns="47891" anchor="ctr"/>
          <a:lstStyle/>
          <a:p>
            <a:pPr algn="ctr" defTabSz="957263"/>
            <a:r>
              <a:rPr lang="ru-RU" sz="1900" b="1" dirty="0" smtClean="0">
                <a:solidFill>
                  <a:schemeClr val="bg1"/>
                </a:solidFill>
                <a:latin typeface="Times New Roman" pitchFamily="18" charset="0"/>
                <a:cs typeface="Times New Roman" pitchFamily="18" charset="0"/>
              </a:rPr>
              <a:t>Способы оплаты медицинской помощи, оказываемой застрахованным лицам по обязательному медицинскому страхованию в Российской Федерации </a:t>
            </a:r>
            <a:endParaRPr lang="ru-RU" sz="1900" b="1" dirty="0">
              <a:solidFill>
                <a:schemeClr val="bg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1106488" y="0"/>
            <a:ext cx="1428750" cy="14446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pic>
        <p:nvPicPr>
          <p:cNvPr id="1031" name="Picture 1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109538" y="6183313"/>
            <a:ext cx="1684337" cy="679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prstShdw prst="shdw13" dist="53882" dir="13500000">
              <a:schemeClr val="bg2">
                <a:alpha val="50000"/>
              </a:schemeClr>
            </a:prstShdw>
          </a:effectLst>
        </p:spPr>
      </p:pic>
      <p:sp>
        <p:nvSpPr>
          <p:cNvPr id="9" name="Скругленный прямоугольник 8"/>
          <p:cNvSpPr/>
          <p:nvPr/>
        </p:nvSpPr>
        <p:spPr>
          <a:xfrm>
            <a:off x="107504" y="1268760"/>
            <a:ext cx="8885476" cy="2592288"/>
          </a:xfrm>
          <a:prstGeom prst="roundRect">
            <a:avLst>
              <a:gd name="adj" fmla="val 0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При оплате медицинской помощи, оказанной в стационарных условиях, в том числе для медицинской реабилитации в специализированных медицинских организациях (структурных подразделениях):</a:t>
            </a:r>
          </a:p>
          <a:p>
            <a:pPr algn="ctr"/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Wingdings" pitchFamily="2" charset="2"/>
              <a:buChar char="§"/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за законченный случай лечения заболевания, включенного в соответствующую группу заболеваний (в том числе клинико-статистические группы заболеваний);</a:t>
            </a:r>
          </a:p>
          <a:p>
            <a:pPr algn="just"/>
            <a:endParaRPr lang="ru-RU" sz="8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Wingdings" pitchFamily="2" charset="2"/>
              <a:buChar char="§"/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за прерванный случай оказания медицинской помощи при переводе пациента в другую медицинскую организацию, преждевременной выписке пациента из медицинской организации при его письменном отказе от дальнейшего лечения, летальном исходе, а также при проведении диагностических исследований, оказании услуг диализа.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07504" y="3933056"/>
            <a:ext cx="8885476" cy="2304256"/>
          </a:xfrm>
          <a:prstGeom prst="roundRect">
            <a:avLst>
              <a:gd name="adj" fmla="val 0"/>
            </a:avLst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/>
            <a:r>
              <a:rPr lang="ru-RU" sz="2000" b="1" dirty="0" smtClean="0">
                <a:latin typeface="Times New Roman" pitchFamily="18" charset="0"/>
                <a:cs typeface="Times New Roman" pitchFamily="18" charset="0"/>
              </a:rPr>
              <a:t>При оплате медицинской помощи, оказанной в условиях дневного стационара:</a:t>
            </a:r>
          </a:p>
          <a:p>
            <a:pPr algn="ctr"/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Wingdings" pitchFamily="2" charset="2"/>
              <a:buChar char="§"/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за законченный случай лечения заболевания, включенного в соответствующую группу заболеваний (в том числе клинико-статистические группы заболеваний);</a:t>
            </a:r>
          </a:p>
          <a:p>
            <a:pPr algn="just"/>
            <a:endParaRPr lang="ru-RU" sz="800" dirty="0" smtClean="0">
              <a:latin typeface="Times New Roman" pitchFamily="18" charset="0"/>
              <a:cs typeface="Times New Roman" pitchFamily="18" charset="0"/>
            </a:endParaRPr>
          </a:p>
          <a:p>
            <a:pPr algn="just">
              <a:buFont typeface="Wingdings" pitchFamily="2" charset="2"/>
              <a:buChar char="§"/>
            </a:pPr>
            <a:r>
              <a:rPr lang="ru-RU" sz="1400" b="1" dirty="0" smtClean="0">
                <a:latin typeface="Times New Roman" pitchFamily="18" charset="0"/>
                <a:cs typeface="Times New Roman" pitchFamily="18" charset="0"/>
              </a:rPr>
              <a:t>за прерванный случай оказания медицинской помощи при переводе пациента в другую медицинскую организацию, преждевременной выписке пациента из медицинской организации при его письменном отказе от дальнейшего лечения, летальном исходе, а также при проведении диагностических исследований, оказании услуг диализа.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4283968" y="6309320"/>
            <a:ext cx="3440112" cy="54868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b="1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7701854" y="6319848"/>
            <a:ext cx="45719" cy="538152"/>
          </a:xfrm>
          <a:prstGeom prst="rect">
            <a:avLst/>
          </a:prstGeom>
          <a:solidFill>
            <a:srgbClr val="FF5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I.hnltY0ues9g6Gx8Lv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rB7_hn.UGU7wgYCwGpm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I.hnltY0ues9g6Gx8Lv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rB7_hn.UGU7wgYCwGpm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I.hnltY0ues9g6Gx8Lv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rB7_hn.UGU7wgYCwGpm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I.hnltY0ues9g6Gx8Lv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rB7_hn.UGU7wgYCwGpm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I.hnltY0ues9g6Gx8Lv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rB7_hn.UGU7wgYCwGpm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rB7_hn.UGU7wgYCwGpm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I.hnltY0ues9g6Gx8L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rB7_hn.UGU7wgYCwGpm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I.hnltY0ues9g6Gx8L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rB7_hn.UGU7wgYCwGpm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I.hnltY0ues9g6Gx8L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rB7_hn.UGU7wgYCwGpm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I.hnltY0ues9g6Gx8Lv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325</TotalTime>
  <Words>1885</Words>
  <Application>Microsoft Office PowerPoint</Application>
  <PresentationFormat>Экран (4:3)</PresentationFormat>
  <Paragraphs>295</Paragraphs>
  <Slides>14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16" baseType="lpstr">
      <vt:lpstr>Тема Office</vt:lpstr>
      <vt:lpstr>think-cell Slide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</vt:vector>
  </TitlesOfParts>
  <Company>Hewlett-Packard Company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Кузенко Петр Иванович</dc:creator>
  <cp:lastModifiedBy>krutskih</cp:lastModifiedBy>
  <cp:revision>707</cp:revision>
  <dcterms:created xsi:type="dcterms:W3CDTF">2017-11-17T12:50:13Z</dcterms:created>
  <dcterms:modified xsi:type="dcterms:W3CDTF">2018-05-14T09:48:20Z</dcterms:modified>
</cp:coreProperties>
</file>